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2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8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9"/>
    <p:sldMasterId id="2147483703" r:id="rId10"/>
    <p:sldMasterId id="2147483707" r:id="rId11"/>
  </p:sldMasterIdLst>
  <p:notesMasterIdLst>
    <p:notesMasterId r:id="rId18"/>
  </p:notesMasterIdLst>
  <p:handoutMasterIdLst>
    <p:handoutMasterId r:id="rId19"/>
  </p:handoutMasterIdLst>
  <p:sldIdLst>
    <p:sldId id="277" r:id="rId12"/>
    <p:sldId id="437" r:id="rId13"/>
    <p:sldId id="2147478519" r:id="rId14"/>
    <p:sldId id="2147478520" r:id="rId15"/>
    <p:sldId id="7520" r:id="rId16"/>
    <p:sldId id="2147375641" r:id="rId17"/>
  </p:sldIdLst>
  <p:sldSz cx="12192000" cy="6858000"/>
  <p:notesSz cx="6718300" cy="98552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BE6CBFF-443D-4401-A6FF-5A01A316B170}">
          <p14:sldIdLst>
            <p14:sldId id="277"/>
            <p14:sldId id="437"/>
            <p14:sldId id="2147478519"/>
            <p14:sldId id="2147478520"/>
            <p14:sldId id="7520"/>
            <p14:sldId id="214737564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BD0D0"/>
    <a:srgbClr val="E7E9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956" autoAdjust="0"/>
  </p:normalViewPr>
  <p:slideViewPr>
    <p:cSldViewPr snapToGrid="0">
      <p:cViewPr varScale="1">
        <p:scale>
          <a:sx n="109" d="100"/>
          <a:sy n="109" d="100"/>
        </p:scale>
        <p:origin x="636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0" d="100"/>
          <a:sy n="80" d="100"/>
        </p:scale>
        <p:origin x="3918" y="10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2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customXml" Target="../customXml/item7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Master" Target="slideMasters/slideMaster3.xml"/><Relationship Id="rId5" Type="http://schemas.openxmlformats.org/officeDocument/2006/relationships/customXml" Target="../customXml/item5.xml"/><Relationship Id="rId15" Type="http://schemas.openxmlformats.org/officeDocument/2006/relationships/slide" Target="slides/slide4.xml"/><Relationship Id="rId23" Type="http://schemas.openxmlformats.org/officeDocument/2006/relationships/tableStyles" Target="tableStyles.xml"/><Relationship Id="rId10" Type="http://schemas.openxmlformats.org/officeDocument/2006/relationships/slideMaster" Target="slideMasters/slideMaster2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1.xml"/><Relationship Id="rId14" Type="http://schemas.openxmlformats.org/officeDocument/2006/relationships/slide" Target="slides/slide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EA7262C-7F24-41F1-A857-B53358B2FB69}" type="doc">
      <dgm:prSet loTypeId="urn:microsoft.com/office/officeart/2005/8/layout/default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GB"/>
        </a:p>
      </dgm:t>
    </dgm:pt>
    <dgm:pt modelId="{974C511F-F39E-44BB-AA9D-8B99EE4F5A7F}">
      <dgm:prSet phldrT="[Text]" custT="1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solidFill>
          <a:schemeClr val="bg2">
            <a:lumMod val="50000"/>
          </a:schemeClr>
        </a:solidFill>
        <a:ln>
          <a:noFill/>
        </a:ln>
      </dgm:spPr>
      <dgm:t>
        <a:bodyPr rtlCol="0" anchor="ctr"/>
        <a:lstStyle/>
        <a:p>
          <a:endParaRPr lang="en-GB" sz="1350" b="1" kern="1200">
            <a:solidFill>
              <a:srgbClr val="FFFFFF"/>
            </a:solidFill>
            <a:latin typeface="RR Pioneer"/>
            <a:ea typeface="+mn-ea"/>
            <a:cs typeface="+mn-cs"/>
          </a:endParaRPr>
        </a:p>
        <a:p>
          <a:r>
            <a:rPr lang="en-GB" sz="2000" kern="1200">
              <a:solidFill>
                <a:schemeClr val="bg1"/>
              </a:solidFill>
              <a:latin typeface="RR Pioneer"/>
            </a:rPr>
            <a:t>1-5 hours a week or short term project</a:t>
          </a:r>
          <a:endParaRPr lang="en-GB" sz="2000" kern="1200">
            <a:solidFill>
              <a:schemeClr val="bg1"/>
            </a:solidFill>
          </a:endParaRPr>
        </a:p>
      </dgm:t>
    </dgm:pt>
    <dgm:pt modelId="{A3D4F955-D083-4662-A28B-3304B0E7D8E6}" type="parTrans" cxnId="{E7788E8F-3FF2-4185-B80E-BCFAFF0348C6}">
      <dgm:prSet/>
      <dgm:spPr/>
      <dgm:t>
        <a:bodyPr/>
        <a:lstStyle/>
        <a:p>
          <a:endParaRPr lang="en-GB" sz="1600"/>
        </a:p>
      </dgm:t>
    </dgm:pt>
    <dgm:pt modelId="{80F7C091-F019-44B5-A0A3-8CE84915E1E1}" type="sibTrans" cxnId="{E7788E8F-3FF2-4185-B80E-BCFAFF0348C6}">
      <dgm:prSet/>
      <dgm:spPr/>
      <dgm:t>
        <a:bodyPr/>
        <a:lstStyle/>
        <a:p>
          <a:endParaRPr lang="en-GB" sz="1600"/>
        </a:p>
      </dgm:t>
    </dgm:pt>
    <dgm:pt modelId="{7109906C-CF30-4CE9-B56A-522E438A7C55}">
      <dgm:prSet phldrT="[Text]" custT="1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solidFill>
          <a:schemeClr val="bg2">
            <a:lumMod val="75000"/>
          </a:schemeClr>
        </a:solidFill>
        <a:ln>
          <a:noFill/>
        </a:ln>
      </dgm:spPr>
      <dgm:t>
        <a:bodyPr rtlCol="0" anchor="ctr"/>
        <a:lstStyle/>
        <a:p>
          <a:pPr marL="0" algn="ctr" defTabSz="685800" rtl="0" eaLnBrk="1" latinLnBrk="0" hangingPunct="1"/>
          <a:endParaRPr lang="en-GB" sz="1350" b="1" kern="1200" dirty="0">
            <a:solidFill>
              <a:srgbClr val="FFFFFF"/>
            </a:solidFill>
            <a:latin typeface="RR Pioneer"/>
            <a:ea typeface="+mn-ea"/>
            <a:cs typeface="+mn-cs"/>
          </a:endParaRPr>
        </a:p>
        <a:p>
          <a:pPr marL="0" algn="ctr" defTabSz="685800" rtl="0" eaLnBrk="1" latinLnBrk="0" hangingPunct="1"/>
          <a:r>
            <a:rPr lang="en-GB" sz="2000" b="0" kern="1200" dirty="0">
              <a:solidFill>
                <a:srgbClr val="FFFFFF"/>
              </a:solidFill>
              <a:latin typeface="RR Pioneer"/>
              <a:ea typeface="+mn-ea"/>
              <a:cs typeface="+mn-cs"/>
            </a:rPr>
            <a:t>Balanced with their role</a:t>
          </a:r>
        </a:p>
      </dgm:t>
    </dgm:pt>
    <dgm:pt modelId="{0E92E59D-7F00-45F8-AE96-9C4A5321C14C}" type="parTrans" cxnId="{265AE0C3-A338-4521-B945-50FC4C535272}">
      <dgm:prSet/>
      <dgm:spPr/>
      <dgm:t>
        <a:bodyPr/>
        <a:lstStyle/>
        <a:p>
          <a:endParaRPr lang="en-GB" sz="1600"/>
        </a:p>
      </dgm:t>
    </dgm:pt>
    <dgm:pt modelId="{E1D4BB89-6A1A-4DB9-973B-B4A7569195AA}" type="sibTrans" cxnId="{265AE0C3-A338-4521-B945-50FC4C535272}">
      <dgm:prSet/>
      <dgm:spPr/>
      <dgm:t>
        <a:bodyPr/>
        <a:lstStyle/>
        <a:p>
          <a:endParaRPr lang="en-GB" sz="1600"/>
        </a:p>
      </dgm:t>
    </dgm:pt>
    <dgm:pt modelId="{6801FB81-3643-4062-8539-7483DD505581}">
      <dgm:prSet phldrT="[Text]" custT="1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solidFill>
          <a:schemeClr val="bg2">
            <a:lumMod val="60000"/>
            <a:lumOff val="40000"/>
          </a:schemeClr>
        </a:solidFill>
        <a:ln>
          <a:noFill/>
        </a:ln>
      </dgm:spPr>
      <dgm:t>
        <a:bodyPr rtlCol="0" anchor="ctr"/>
        <a:lstStyle/>
        <a:p>
          <a:pPr marL="0" algn="ctr" defTabSz="685800" rtl="0" eaLnBrk="1" latinLnBrk="0" hangingPunct="1"/>
          <a:endParaRPr lang="en-GB" sz="1350" b="1" kern="1200">
            <a:solidFill>
              <a:srgbClr val="FFFFFF"/>
            </a:solidFill>
            <a:latin typeface="RR Pioneer"/>
            <a:ea typeface="+mn-ea"/>
            <a:cs typeface="+mn-cs"/>
          </a:endParaRPr>
        </a:p>
        <a:p>
          <a:pPr marL="0" algn="ctr" defTabSz="685800" rtl="0" eaLnBrk="1" latinLnBrk="0" hangingPunct="1"/>
          <a:r>
            <a:rPr lang="en-GB" sz="2000" b="0" kern="1200">
              <a:solidFill>
                <a:schemeClr val="tx1"/>
              </a:solidFill>
              <a:latin typeface="RR Pioneer"/>
              <a:ea typeface="+mn-ea"/>
              <a:cs typeface="+mn-cs"/>
            </a:rPr>
            <a:t>Support individual’s development</a:t>
          </a:r>
        </a:p>
      </dgm:t>
    </dgm:pt>
    <dgm:pt modelId="{F8EFF97C-0703-433A-A955-C171BDC85C92}" type="parTrans" cxnId="{3E729A28-A330-4790-9AA3-DBE2A034B185}">
      <dgm:prSet/>
      <dgm:spPr/>
      <dgm:t>
        <a:bodyPr/>
        <a:lstStyle/>
        <a:p>
          <a:endParaRPr lang="en-GB" sz="1600"/>
        </a:p>
      </dgm:t>
    </dgm:pt>
    <dgm:pt modelId="{FE17E145-4C6F-4F83-A988-6830B4B3FF5A}" type="sibTrans" cxnId="{3E729A28-A330-4790-9AA3-DBE2A034B185}">
      <dgm:prSet/>
      <dgm:spPr/>
      <dgm:t>
        <a:bodyPr/>
        <a:lstStyle/>
        <a:p>
          <a:endParaRPr lang="en-GB" sz="1600"/>
        </a:p>
      </dgm:t>
    </dgm:pt>
    <dgm:pt modelId="{3F949790-EF9D-45C0-9148-0EE8DCDF1BDB}">
      <dgm:prSet phldrT="[Text]" custT="1">
        <dgm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dgm:style>
      </dgm:prSet>
      <dgm:spPr>
        <a:solidFill>
          <a:schemeClr val="bg2">
            <a:lumMod val="40000"/>
            <a:lumOff val="60000"/>
          </a:schemeClr>
        </a:solidFill>
        <a:ln>
          <a:noFill/>
        </a:ln>
      </dgm:spPr>
      <dgm:t>
        <a:bodyPr rtlCol="0" anchor="ctr"/>
        <a:lstStyle/>
        <a:p>
          <a:endParaRPr lang="en-GB" sz="1350" b="1" kern="1200">
            <a:solidFill>
              <a:srgbClr val="000000"/>
            </a:solidFill>
            <a:latin typeface="RR Pioneer"/>
            <a:ea typeface="+mn-ea"/>
            <a:cs typeface="+mn-cs"/>
          </a:endParaRPr>
        </a:p>
        <a:p>
          <a:endParaRPr lang="en-GB" sz="2000" kern="1200">
            <a:solidFill>
              <a:srgbClr val="000000"/>
            </a:solidFill>
            <a:latin typeface="RR Pioneer"/>
          </a:endParaRPr>
        </a:p>
        <a:p>
          <a:r>
            <a:rPr lang="en-GB" sz="2000" kern="1200">
              <a:solidFill>
                <a:srgbClr val="000000"/>
              </a:solidFill>
              <a:latin typeface="RR Pioneer"/>
            </a:rPr>
            <a:t>Broader access to talent</a:t>
          </a:r>
          <a:endParaRPr lang="en-GB" sz="2000" kern="1200"/>
        </a:p>
      </dgm:t>
    </dgm:pt>
    <dgm:pt modelId="{44546BC3-CC2D-4F5B-A05A-19131642D318}" type="parTrans" cxnId="{514051AB-AC20-4CF1-A4DC-C1D85A1C1A1E}">
      <dgm:prSet/>
      <dgm:spPr/>
      <dgm:t>
        <a:bodyPr/>
        <a:lstStyle/>
        <a:p>
          <a:endParaRPr lang="en-GB" sz="1600"/>
        </a:p>
      </dgm:t>
    </dgm:pt>
    <dgm:pt modelId="{47B80AD6-19C5-4EA0-962A-E5B29A7368BF}" type="sibTrans" cxnId="{514051AB-AC20-4CF1-A4DC-C1D85A1C1A1E}">
      <dgm:prSet/>
      <dgm:spPr/>
      <dgm:t>
        <a:bodyPr/>
        <a:lstStyle/>
        <a:p>
          <a:endParaRPr lang="en-GB" sz="1600"/>
        </a:p>
      </dgm:t>
    </dgm:pt>
    <dgm:pt modelId="{89CF49C9-22A9-4224-A9E4-FB7E079B000D}" type="pres">
      <dgm:prSet presAssocID="{3EA7262C-7F24-41F1-A857-B53358B2FB69}" presName="diagram" presStyleCnt="0">
        <dgm:presLayoutVars>
          <dgm:dir/>
          <dgm:resizeHandles val="exact"/>
        </dgm:presLayoutVars>
      </dgm:prSet>
      <dgm:spPr/>
    </dgm:pt>
    <dgm:pt modelId="{2368C177-D502-401A-A123-16857F7E7759}" type="pres">
      <dgm:prSet presAssocID="{974C511F-F39E-44BB-AA9D-8B99EE4F5A7F}" presName="node" presStyleLbl="node1" presStyleIdx="0" presStyleCnt="4">
        <dgm:presLayoutVars>
          <dgm:bulletEnabled val="1"/>
        </dgm:presLayoutVars>
      </dgm:prSet>
      <dgm:spPr>
        <a:xfrm>
          <a:off x="744" y="145603"/>
          <a:ext cx="2902148" cy="1741289"/>
        </a:xfrm>
        <a:prstGeom prst="rect">
          <a:avLst/>
        </a:prstGeom>
      </dgm:spPr>
    </dgm:pt>
    <dgm:pt modelId="{90FA8FD8-D9EB-4EED-A7DF-8B5682AB9AFC}" type="pres">
      <dgm:prSet presAssocID="{80F7C091-F019-44B5-A0A3-8CE84915E1E1}" presName="sibTrans" presStyleCnt="0"/>
      <dgm:spPr/>
    </dgm:pt>
    <dgm:pt modelId="{5CA08B54-0725-4C88-82B6-3F2D772571FE}" type="pres">
      <dgm:prSet presAssocID="{7109906C-CF30-4CE9-B56A-522E438A7C55}" presName="node" presStyleLbl="node1" presStyleIdx="1" presStyleCnt="4">
        <dgm:presLayoutVars>
          <dgm:bulletEnabled val="1"/>
        </dgm:presLayoutVars>
      </dgm:prSet>
      <dgm:spPr>
        <a:xfrm>
          <a:off x="3193107" y="145603"/>
          <a:ext cx="2902148" cy="1741289"/>
        </a:xfrm>
        <a:prstGeom prst="rect">
          <a:avLst/>
        </a:prstGeom>
      </dgm:spPr>
    </dgm:pt>
    <dgm:pt modelId="{69AA40FC-7904-4370-BB6D-88BA43AE45C6}" type="pres">
      <dgm:prSet presAssocID="{E1D4BB89-6A1A-4DB9-973B-B4A7569195AA}" presName="sibTrans" presStyleCnt="0"/>
      <dgm:spPr/>
    </dgm:pt>
    <dgm:pt modelId="{696C50EE-03CB-499B-8632-3127A7DB2191}" type="pres">
      <dgm:prSet presAssocID="{6801FB81-3643-4062-8539-7483DD505581}" presName="node" presStyleLbl="node1" presStyleIdx="2" presStyleCnt="4">
        <dgm:presLayoutVars>
          <dgm:bulletEnabled val="1"/>
        </dgm:presLayoutVars>
      </dgm:prSet>
      <dgm:spPr>
        <a:xfrm>
          <a:off x="744" y="2177107"/>
          <a:ext cx="2902148" cy="1741289"/>
        </a:xfrm>
        <a:prstGeom prst="rect">
          <a:avLst/>
        </a:prstGeom>
      </dgm:spPr>
    </dgm:pt>
    <dgm:pt modelId="{2A1EC7AB-B2B8-4D4A-A74A-DD58F3B86D8A}" type="pres">
      <dgm:prSet presAssocID="{FE17E145-4C6F-4F83-A988-6830B4B3FF5A}" presName="sibTrans" presStyleCnt="0"/>
      <dgm:spPr/>
    </dgm:pt>
    <dgm:pt modelId="{C330264D-B46F-47EE-A332-4B3DB2DA1320}" type="pres">
      <dgm:prSet presAssocID="{3F949790-EF9D-45C0-9148-0EE8DCDF1BDB}" presName="node" presStyleLbl="node1" presStyleIdx="3" presStyleCnt="4">
        <dgm:presLayoutVars>
          <dgm:bulletEnabled val="1"/>
        </dgm:presLayoutVars>
      </dgm:prSet>
      <dgm:spPr>
        <a:xfrm>
          <a:off x="3193107" y="2177107"/>
          <a:ext cx="2902148" cy="1741289"/>
        </a:xfrm>
        <a:prstGeom prst="rect">
          <a:avLst/>
        </a:prstGeom>
      </dgm:spPr>
    </dgm:pt>
  </dgm:ptLst>
  <dgm:cxnLst>
    <dgm:cxn modelId="{13789B0A-DD13-4ECE-A6E8-34641645F17A}" type="presOf" srcId="{7109906C-CF30-4CE9-B56A-522E438A7C55}" destId="{5CA08B54-0725-4C88-82B6-3F2D772571FE}" srcOrd="0" destOrd="0" presId="urn:microsoft.com/office/officeart/2005/8/layout/default"/>
    <dgm:cxn modelId="{3E729A28-A330-4790-9AA3-DBE2A034B185}" srcId="{3EA7262C-7F24-41F1-A857-B53358B2FB69}" destId="{6801FB81-3643-4062-8539-7483DD505581}" srcOrd="2" destOrd="0" parTransId="{F8EFF97C-0703-433A-A955-C171BDC85C92}" sibTransId="{FE17E145-4C6F-4F83-A988-6830B4B3FF5A}"/>
    <dgm:cxn modelId="{3956643A-8587-43BB-B00F-5987FA052D27}" type="presOf" srcId="{3EA7262C-7F24-41F1-A857-B53358B2FB69}" destId="{89CF49C9-22A9-4224-A9E4-FB7E079B000D}" srcOrd="0" destOrd="0" presId="urn:microsoft.com/office/officeart/2005/8/layout/default"/>
    <dgm:cxn modelId="{A9DDF453-4C89-4991-BF2F-900E5B334D5E}" type="presOf" srcId="{3F949790-EF9D-45C0-9148-0EE8DCDF1BDB}" destId="{C330264D-B46F-47EE-A332-4B3DB2DA1320}" srcOrd="0" destOrd="0" presId="urn:microsoft.com/office/officeart/2005/8/layout/default"/>
    <dgm:cxn modelId="{E7788E8F-3FF2-4185-B80E-BCFAFF0348C6}" srcId="{3EA7262C-7F24-41F1-A857-B53358B2FB69}" destId="{974C511F-F39E-44BB-AA9D-8B99EE4F5A7F}" srcOrd="0" destOrd="0" parTransId="{A3D4F955-D083-4662-A28B-3304B0E7D8E6}" sibTransId="{80F7C091-F019-44B5-A0A3-8CE84915E1E1}"/>
    <dgm:cxn modelId="{514051AB-AC20-4CF1-A4DC-C1D85A1C1A1E}" srcId="{3EA7262C-7F24-41F1-A857-B53358B2FB69}" destId="{3F949790-EF9D-45C0-9148-0EE8DCDF1BDB}" srcOrd="3" destOrd="0" parTransId="{44546BC3-CC2D-4F5B-A05A-19131642D318}" sibTransId="{47B80AD6-19C5-4EA0-962A-E5B29A7368BF}"/>
    <dgm:cxn modelId="{27863DB1-BA7B-47BC-B4EB-BFAA83ADCE02}" type="presOf" srcId="{6801FB81-3643-4062-8539-7483DD505581}" destId="{696C50EE-03CB-499B-8632-3127A7DB2191}" srcOrd="0" destOrd="0" presId="urn:microsoft.com/office/officeart/2005/8/layout/default"/>
    <dgm:cxn modelId="{265AE0C3-A338-4521-B945-50FC4C535272}" srcId="{3EA7262C-7F24-41F1-A857-B53358B2FB69}" destId="{7109906C-CF30-4CE9-B56A-522E438A7C55}" srcOrd="1" destOrd="0" parTransId="{0E92E59D-7F00-45F8-AE96-9C4A5321C14C}" sibTransId="{E1D4BB89-6A1A-4DB9-973B-B4A7569195AA}"/>
    <dgm:cxn modelId="{F5F118DC-0374-4849-8F9F-5770D49A94F7}" type="presOf" srcId="{974C511F-F39E-44BB-AA9D-8B99EE4F5A7F}" destId="{2368C177-D502-401A-A123-16857F7E7759}" srcOrd="0" destOrd="0" presId="urn:microsoft.com/office/officeart/2005/8/layout/default"/>
    <dgm:cxn modelId="{846F3220-F2F9-45E9-8824-1B0019995465}" type="presParOf" srcId="{89CF49C9-22A9-4224-A9E4-FB7E079B000D}" destId="{2368C177-D502-401A-A123-16857F7E7759}" srcOrd="0" destOrd="0" presId="urn:microsoft.com/office/officeart/2005/8/layout/default"/>
    <dgm:cxn modelId="{C73793A7-CF60-4A74-8989-BC0266C39390}" type="presParOf" srcId="{89CF49C9-22A9-4224-A9E4-FB7E079B000D}" destId="{90FA8FD8-D9EB-4EED-A7DF-8B5682AB9AFC}" srcOrd="1" destOrd="0" presId="urn:microsoft.com/office/officeart/2005/8/layout/default"/>
    <dgm:cxn modelId="{BF7C874A-D75D-4161-A01F-07EF19AA7FFB}" type="presParOf" srcId="{89CF49C9-22A9-4224-A9E4-FB7E079B000D}" destId="{5CA08B54-0725-4C88-82B6-3F2D772571FE}" srcOrd="2" destOrd="0" presId="urn:microsoft.com/office/officeart/2005/8/layout/default"/>
    <dgm:cxn modelId="{7F99E115-1289-44A1-BD48-F40FD76DB161}" type="presParOf" srcId="{89CF49C9-22A9-4224-A9E4-FB7E079B000D}" destId="{69AA40FC-7904-4370-BB6D-88BA43AE45C6}" srcOrd="3" destOrd="0" presId="urn:microsoft.com/office/officeart/2005/8/layout/default"/>
    <dgm:cxn modelId="{C4DFFD69-D462-44DE-8804-AD58CC906CB0}" type="presParOf" srcId="{89CF49C9-22A9-4224-A9E4-FB7E079B000D}" destId="{696C50EE-03CB-499B-8632-3127A7DB2191}" srcOrd="4" destOrd="0" presId="urn:microsoft.com/office/officeart/2005/8/layout/default"/>
    <dgm:cxn modelId="{C476B74D-86A0-4800-8A20-333839BF7E16}" type="presParOf" srcId="{89CF49C9-22A9-4224-A9E4-FB7E079B000D}" destId="{2A1EC7AB-B2B8-4D4A-A74A-DD58F3B86D8A}" srcOrd="5" destOrd="0" presId="urn:microsoft.com/office/officeart/2005/8/layout/default"/>
    <dgm:cxn modelId="{DC611AAD-2372-441E-917E-0D09E52490BE}" type="presParOf" srcId="{89CF49C9-22A9-4224-A9E4-FB7E079B000D}" destId="{C330264D-B46F-47EE-A332-4B3DB2DA1320}" srcOrd="6" destOrd="0" presId="urn:microsoft.com/office/officeart/2005/8/layout/default"/>
  </dgm:cxnLst>
  <dgm:bg>
    <a:effectLst>
      <a:glow rad="63500">
        <a:schemeClr val="accent1">
          <a:satMod val="175000"/>
          <a:alpha val="40000"/>
        </a:schemeClr>
      </a:glow>
      <a:outerShdw blurRad="50800" dist="38100" dir="16200000" rotWithShape="0">
        <a:prstClr val="black">
          <a:alpha val="40000"/>
        </a:prstClr>
      </a:outerShdw>
    </a:effectLst>
  </dgm:bg>
  <dgm:whole>
    <a:effectLst/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68C177-D502-401A-A123-16857F7E7759}">
      <dsp:nvSpPr>
        <dsp:cNvPr id="0" name=""/>
        <dsp:cNvSpPr/>
      </dsp:nvSpPr>
      <dsp:spPr>
        <a:xfrm>
          <a:off x="992" y="194138"/>
          <a:ext cx="3869531" cy="2321718"/>
        </a:xfrm>
        <a:prstGeom prst="rect">
          <a:avLst/>
        </a:prstGeom>
        <a:solidFill>
          <a:schemeClr val="bg2">
            <a:lumMod val="5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rtlCol="0" anchor="ctr" anchorCtr="0">
          <a:noAutofit/>
        </a:bodyPr>
        <a:lstStyle/>
        <a:p>
          <a:pPr marL="0" lvl="0" indent="0" algn="ctr" defTabSz="6000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350" b="1" kern="1200">
            <a:solidFill>
              <a:srgbClr val="FFFFFF"/>
            </a:solidFill>
            <a:latin typeface="RR Pioneer"/>
            <a:ea typeface="+mn-ea"/>
            <a:cs typeface="+mn-cs"/>
          </a:endParaRPr>
        </a:p>
        <a:p>
          <a:pPr marL="0" lvl="0" indent="0" algn="ctr" defTabSz="6000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>
              <a:solidFill>
                <a:schemeClr val="bg1"/>
              </a:solidFill>
              <a:latin typeface="RR Pioneer"/>
            </a:rPr>
            <a:t>1-5 hours a week or short term project</a:t>
          </a:r>
          <a:endParaRPr lang="en-GB" sz="2000" kern="1200">
            <a:solidFill>
              <a:schemeClr val="bg1"/>
            </a:solidFill>
          </a:endParaRPr>
        </a:p>
      </dsp:txBody>
      <dsp:txXfrm>
        <a:off x="992" y="194138"/>
        <a:ext cx="3869531" cy="2321718"/>
      </dsp:txXfrm>
    </dsp:sp>
    <dsp:sp modelId="{5CA08B54-0725-4C88-82B6-3F2D772571FE}">
      <dsp:nvSpPr>
        <dsp:cNvPr id="0" name=""/>
        <dsp:cNvSpPr/>
      </dsp:nvSpPr>
      <dsp:spPr>
        <a:xfrm>
          <a:off x="4257476" y="194138"/>
          <a:ext cx="3869531" cy="2321718"/>
        </a:xfrm>
        <a:prstGeom prst="rect">
          <a:avLst/>
        </a:prstGeom>
        <a:solidFill>
          <a:schemeClr val="bg2">
            <a:lumMod val="75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rtlCol="0" anchor="ctr" anchorCtr="0">
          <a:noAutofit/>
        </a:bodyPr>
        <a:lstStyle/>
        <a:p>
          <a:pPr marL="0" lvl="0" indent="0" algn="ctr" defTabSz="6858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350" b="1" kern="1200" dirty="0">
            <a:solidFill>
              <a:srgbClr val="FFFFFF"/>
            </a:solidFill>
            <a:latin typeface="RR Pioneer"/>
            <a:ea typeface="+mn-ea"/>
            <a:cs typeface="+mn-cs"/>
          </a:endParaRPr>
        </a:p>
        <a:p>
          <a:pPr marL="0" lvl="0" indent="0" algn="ctr" defTabSz="6858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kern="1200" dirty="0">
              <a:solidFill>
                <a:srgbClr val="FFFFFF"/>
              </a:solidFill>
              <a:latin typeface="RR Pioneer"/>
              <a:ea typeface="+mn-ea"/>
              <a:cs typeface="+mn-cs"/>
            </a:rPr>
            <a:t>Balanced with their role</a:t>
          </a:r>
        </a:p>
      </dsp:txBody>
      <dsp:txXfrm>
        <a:off x="4257476" y="194138"/>
        <a:ext cx="3869531" cy="2321718"/>
      </dsp:txXfrm>
    </dsp:sp>
    <dsp:sp modelId="{696C50EE-03CB-499B-8632-3127A7DB2191}">
      <dsp:nvSpPr>
        <dsp:cNvPr id="0" name=""/>
        <dsp:cNvSpPr/>
      </dsp:nvSpPr>
      <dsp:spPr>
        <a:xfrm>
          <a:off x="992" y="2902810"/>
          <a:ext cx="3869531" cy="2321718"/>
        </a:xfrm>
        <a:prstGeom prst="rect">
          <a:avLst/>
        </a:prstGeom>
        <a:solidFill>
          <a:schemeClr val="bg2">
            <a:lumMod val="60000"/>
            <a:lumOff val="4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rtlCol="0" anchor="ctr" anchorCtr="0">
          <a:noAutofit/>
        </a:bodyPr>
        <a:lstStyle/>
        <a:p>
          <a:pPr marL="0" lvl="0" indent="0" algn="ctr" defTabSz="6858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350" b="1" kern="1200">
            <a:solidFill>
              <a:srgbClr val="FFFFFF"/>
            </a:solidFill>
            <a:latin typeface="RR Pioneer"/>
            <a:ea typeface="+mn-ea"/>
            <a:cs typeface="+mn-cs"/>
          </a:endParaRPr>
        </a:p>
        <a:p>
          <a:pPr marL="0" lvl="0" indent="0" algn="ctr" defTabSz="685800" rtl="0" eaLnBrk="1" latinLnBrk="0" hangingPunct="1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b="0" kern="1200">
              <a:solidFill>
                <a:schemeClr val="tx1"/>
              </a:solidFill>
              <a:latin typeface="RR Pioneer"/>
              <a:ea typeface="+mn-ea"/>
              <a:cs typeface="+mn-cs"/>
            </a:rPr>
            <a:t>Support individual’s development</a:t>
          </a:r>
        </a:p>
      </dsp:txBody>
      <dsp:txXfrm>
        <a:off x="992" y="2902810"/>
        <a:ext cx="3869531" cy="2321718"/>
      </dsp:txXfrm>
    </dsp:sp>
    <dsp:sp modelId="{C330264D-B46F-47EE-A332-4B3DB2DA1320}">
      <dsp:nvSpPr>
        <dsp:cNvPr id="0" name=""/>
        <dsp:cNvSpPr/>
      </dsp:nvSpPr>
      <dsp:spPr>
        <a:xfrm>
          <a:off x="4257476" y="2902810"/>
          <a:ext cx="3869531" cy="2321718"/>
        </a:xfrm>
        <a:prstGeom prst="rect">
          <a:avLst/>
        </a:prstGeom>
        <a:solidFill>
          <a:schemeClr val="bg2">
            <a:lumMod val="40000"/>
            <a:lumOff val="6000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rtlCol="0" anchor="ctr" anchorCtr="0">
          <a:noAutofit/>
        </a:bodyPr>
        <a:lstStyle/>
        <a:p>
          <a:pPr marL="0" lvl="0" indent="0" algn="ctr" defTabSz="6000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350" b="1" kern="1200">
            <a:solidFill>
              <a:srgbClr val="000000"/>
            </a:solidFill>
            <a:latin typeface="RR Pioneer"/>
            <a:ea typeface="+mn-ea"/>
            <a:cs typeface="+mn-cs"/>
          </a:endParaRPr>
        </a:p>
        <a:p>
          <a:pPr marL="0" lvl="0" indent="0" algn="ctr" defTabSz="6000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2000" kern="1200">
            <a:solidFill>
              <a:srgbClr val="000000"/>
            </a:solidFill>
            <a:latin typeface="RR Pioneer"/>
          </a:endParaRPr>
        </a:p>
        <a:p>
          <a:pPr marL="0" lvl="0" indent="0" algn="ctr" defTabSz="6000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000" kern="1200">
              <a:solidFill>
                <a:srgbClr val="000000"/>
              </a:solidFill>
              <a:latin typeface="RR Pioneer"/>
            </a:rPr>
            <a:t>Broader access to talent</a:t>
          </a:r>
          <a:endParaRPr lang="en-GB" sz="2000" kern="1200"/>
        </a:p>
      </dsp:txBody>
      <dsp:txXfrm>
        <a:off x="4257476" y="2902810"/>
        <a:ext cx="3869531" cy="232171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4722C8B-85FC-43B1-BD58-96C1A37E76F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1263" cy="49447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745BF8-7AA4-416B-AB93-B690268CDA3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05482" y="0"/>
            <a:ext cx="2911263" cy="49447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294DBD-F39E-4272-8DF2-275EC19052C8}" type="datetimeFigureOut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F2E1A44-E607-4429-9165-4CBA4CD0598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60730"/>
            <a:ext cx="2911263" cy="4944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673D72C-2BE1-4AF6-934A-AAF2930536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05482" y="9360730"/>
            <a:ext cx="2911263" cy="4944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3656AD-DBCD-466C-9ED3-C9A3A49C979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01969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1263" cy="49447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05482" y="0"/>
            <a:ext cx="2911263" cy="49447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90ACB50-DE64-49B2-9E3E-8A9D3A6ADA79}" type="datetimeFigureOut">
              <a:rPr lang="en-GB" smtClean="0"/>
              <a:t>23/03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3225" y="1231900"/>
            <a:ext cx="5911850" cy="3325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1830" y="4742815"/>
            <a:ext cx="5374640" cy="38804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60730"/>
            <a:ext cx="2911263" cy="4944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05482" y="9360730"/>
            <a:ext cx="2911263" cy="49447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8E95D5-4462-4BCE-ABCC-432D5508C28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8394213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8E95D5-4462-4BCE-ABCC-432D5508C286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23986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EFBF34-FCEC-4BD4-963C-A47899FC74D0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01929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0650" y="1339850"/>
            <a:ext cx="6426200" cy="36163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GB" sz="14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EFBF34-FCEC-4BD4-963C-A47899FC74D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2001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8E95D5-4462-4BCE-ABCC-432D5508C286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18093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EFBF34-FCEC-4BD4-963C-A47899FC74D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88864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40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9EFBF34-FCEC-4BD4-963C-A47899FC74D0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726005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4" Type="http://schemas.openxmlformats.org/officeDocument/2006/relationships/image" Target="../media/image2.pn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8.xml"/><Relationship Id="rId4" Type="http://schemas.openxmlformats.org/officeDocument/2006/relationships/image" Target="../media/image4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9.xml"/><Relationship Id="rId4" Type="http://schemas.openxmlformats.org/officeDocument/2006/relationships/image" Target="../media/image6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0.xml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1.xml"/><Relationship Id="rId4" Type="http://schemas.openxmlformats.org/officeDocument/2006/relationships/image" Target="../media/image10.png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2.xml"/><Relationship Id="rId4" Type="http://schemas.openxmlformats.org/officeDocument/2006/relationships/image" Target="../media/image12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3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4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4" Type="http://schemas.openxmlformats.org/officeDocument/2006/relationships/image" Target="../media/image2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7.xml"/><Relationship Id="rId4" Type="http://schemas.openxmlformats.org/officeDocument/2006/relationships/image" Target="../media/image2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Relationship Id="rId4" Type="http://schemas.openxmlformats.org/officeDocument/2006/relationships/image" Target="../media/image4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9.xml"/><Relationship Id="rId4" Type="http://schemas.openxmlformats.org/officeDocument/2006/relationships/image" Target="../media/image6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0.xml"/><Relationship Id="rId4" Type="http://schemas.openxmlformats.org/officeDocument/2006/relationships/image" Target="../media/image8.pn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1.xml"/><Relationship Id="rId4" Type="http://schemas.openxmlformats.org/officeDocument/2006/relationships/image" Target="../media/image10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2.xml"/><Relationship Id="rId4" Type="http://schemas.openxmlformats.org/officeDocument/2006/relationships/image" Target="../media/image12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3.xml"/><Relationship Id="rId4" Type="http://schemas.openxmlformats.org/officeDocument/2006/relationships/image" Target="../media/image16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4.xml"/><Relationship Id="rId4" Type="http://schemas.openxmlformats.org/officeDocument/2006/relationships/image" Target="../media/image16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5.xml"/><Relationship Id="rId4" Type="http://schemas.openxmlformats.org/officeDocument/2006/relationships/image" Target="../media/image16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6.xml"/><Relationship Id="rId4" Type="http://schemas.openxmlformats.org/officeDocument/2006/relationships/image" Target="../media/image16.png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7.xml"/><Relationship Id="rId4" Type="http://schemas.openxmlformats.org/officeDocument/2006/relationships/image" Target="../media/image16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8.xml"/><Relationship Id="rId4" Type="http://schemas.openxmlformats.org/officeDocument/2006/relationships/image" Target="../media/image16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9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0.xml"/><Relationship Id="rId4" Type="http://schemas.openxmlformats.org/officeDocument/2006/relationships/image" Target="../media/image20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1.xml"/><Relationship Id="rId4" Type="http://schemas.openxmlformats.org/officeDocument/2006/relationships/image" Target="../media/image22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2.xml"/><Relationship Id="rId4" Type="http://schemas.openxmlformats.org/officeDocument/2006/relationships/image" Target="../media/image24.png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3.xml"/><Relationship Id="rId4" Type="http://schemas.openxmlformats.org/officeDocument/2006/relationships/image" Target="../media/image26.png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4.xml"/><Relationship Id="rId4" Type="http://schemas.openxmlformats.org/officeDocument/2006/relationships/image" Target="../media/image28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5.xml"/><Relationship Id="rId4" Type="http://schemas.openxmlformats.org/officeDocument/2006/relationships/image" Target="../media/image29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6.xml"/><Relationship Id="rId4" Type="http://schemas.openxmlformats.org/officeDocument/2006/relationships/image" Target="../media/image29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7.xml"/><Relationship Id="rId4" Type="http://schemas.openxmlformats.org/officeDocument/2006/relationships/image" Target="../media/image29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8.xml"/><Relationship Id="rId4" Type="http://schemas.openxmlformats.org/officeDocument/2006/relationships/image" Target="../media/image29.png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69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Relationship Id="rId4" Type="http://schemas.openxmlformats.org/officeDocument/2006/relationships/image" Target="../media/image29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1.xml"/><Relationship Id="rId4" Type="http://schemas.openxmlformats.org/officeDocument/2006/relationships/image" Target="../media/image29.png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.xml"/><Relationship Id="rId4" Type="http://schemas.openxmlformats.org/officeDocument/2006/relationships/image" Target="../media/image29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3.xml"/><Relationship Id="rId4" Type="http://schemas.openxmlformats.org/officeDocument/2006/relationships/image" Target="../media/image29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4.xml"/><Relationship Id="rId4" Type="http://schemas.openxmlformats.org/officeDocument/2006/relationships/image" Target="../media/image29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5.xml"/><Relationship Id="rId4" Type="http://schemas.openxmlformats.org/officeDocument/2006/relationships/image" Target="../media/image29.png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6.xml"/><Relationship Id="rId4" Type="http://schemas.openxmlformats.org/officeDocument/2006/relationships/image" Target="../media/image29.png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7.xml"/><Relationship Id="rId4" Type="http://schemas.openxmlformats.org/officeDocument/2006/relationships/image" Target="../media/image29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8.xml"/><Relationship Id="rId4" Type="http://schemas.openxmlformats.org/officeDocument/2006/relationships/image" Target="../media/image29.png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9.xml"/><Relationship Id="rId4" Type="http://schemas.openxmlformats.org/officeDocument/2006/relationships/image" Target="../media/image29.png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Relationship Id="rId4" Type="http://schemas.openxmlformats.org/officeDocument/2006/relationships/image" Target="../media/image29.pn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1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8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9EC6EB6-0EEE-4BBB-B4A6-72BF5D802D88}"/>
              </a:ext>
            </a:extLst>
          </p:cNvPr>
          <p:cNvSpPr/>
          <p:nvPr userDrawn="1"/>
        </p:nvSpPr>
        <p:spPr>
          <a:xfrm>
            <a:off x="3024717" y="0"/>
            <a:ext cx="916728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6AA855-7E6E-4927-A811-F63C0750684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47017" y="2179200"/>
            <a:ext cx="8113183" cy="566400"/>
          </a:xfrm>
        </p:spPr>
        <p:txBody>
          <a:bodyPr anchor="b">
            <a:noAutofit/>
          </a:bodyPr>
          <a:lstStyle>
            <a:lvl1pPr algn="l"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0B840D-89AD-469A-9906-0384E3FD26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48000" y="2860800"/>
            <a:ext cx="8112000" cy="446400"/>
          </a:xfrm>
        </p:spPr>
        <p:txBody>
          <a:bodyPr>
            <a:noAutofit/>
          </a:bodyPr>
          <a:lstStyle>
            <a:lvl1pPr marL="0" indent="0" algn="l">
              <a:buNone/>
              <a:defRPr lang="en-US" sz="2667" kern="1200" dirty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Presentation sub-tit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9FCDBA-3B9B-4385-BED9-F418223EB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D063F78-7ECA-4714-AEE3-784703B00401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10B49E-C956-4407-B999-F88F1FA6F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6B4624-DA49-4DF6-A561-977EFFDF4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7E86416-DF3C-4150-A8E7-60289DFFAE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47017" y="3422400"/>
            <a:ext cx="8111067" cy="326400"/>
          </a:xfrm>
        </p:spPr>
        <p:txBody>
          <a:bodyPr>
            <a:no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uthor Name, Job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87897AC3-FB94-4825-8939-95C9C02349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48000" y="3864000"/>
            <a:ext cx="8111067" cy="326400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XXXX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346D7C4-096A-4546-981B-47B5DF66AA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4070400"/>
            <a:ext cx="2164800" cy="1920000"/>
          </a:xfrm>
        </p:spPr>
        <p:txBody>
          <a:bodyPr anchor="b" anchorCtr="0">
            <a:noAutofit/>
          </a:bodyPr>
          <a:lstStyle>
            <a:lvl1pPr>
              <a:defRPr sz="1067">
                <a:solidFill>
                  <a:srgbClr val="666666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BUSINESS STATEMENT: Insert mandatory statement, this can be copied and pasted from the markings summary slide. 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943F97D-F88F-4D8B-ACD6-0756CF793E57}"/>
              </a:ext>
            </a:extLst>
          </p:cNvPr>
          <p:cNvGrpSpPr/>
          <p:nvPr userDrawn="1"/>
        </p:nvGrpSpPr>
        <p:grpSpPr>
          <a:xfrm>
            <a:off x="1020974" y="2230120"/>
            <a:ext cx="959247" cy="1559573"/>
            <a:chOff x="-3513606" y="270529"/>
            <a:chExt cx="1671638" cy="2717801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06621B0-0B38-4B72-8817-E6E77E822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30BA4D60-AEBF-45FD-B023-834FAF56E3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98CA8C26-FADB-4F00-9333-67195ABE5C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0079139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- Lilac">
    <p:bg>
      <p:bgPr>
        <a:solidFill>
          <a:srgbClr val="8C2A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E3273D-D190-43EA-AB9F-F4E0C3DE2A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600" y="1243200"/>
            <a:ext cx="2404800" cy="2188800"/>
          </a:xfrm>
        </p:spPr>
        <p:txBody>
          <a:bodyPr anchor="ctr" anchorCtr="0">
            <a:noAutofit/>
          </a:bodyPr>
          <a:lstStyle>
            <a:lvl1pPr algn="r">
              <a:defRPr sz="14666">
                <a:solidFill>
                  <a:schemeClr val="bg1"/>
                </a:solidFill>
                <a:latin typeface="RR Pioneer UltraLight Condensed" panose="020B0206030201060103" pitchFamily="34" charset="0"/>
              </a:defRPr>
            </a:lvl1pPr>
          </a:lstStyle>
          <a:p>
            <a:r>
              <a:rPr lang="en-US"/>
              <a:t>XX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AD4DAF-CD34-4819-9611-33C813C52E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DA14E0-A056-44DC-9F3B-5FFC69403BC9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D09A4-D7CF-4D1D-8376-A6317B2D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87183-9305-4CC7-88E3-CD4694340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AABB29-22AC-4C62-A174-9E5A0A1EFA21}"/>
              </a:ext>
            </a:extLst>
          </p:cNvPr>
          <p:cNvSpPr/>
          <p:nvPr userDrawn="1"/>
        </p:nvSpPr>
        <p:spPr>
          <a:xfrm>
            <a:off x="431800" y="1222000"/>
            <a:ext cx="2772493" cy="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>
              <a:latin typeface="RR Pioneer" panose="020B0503050201040103" pitchFamily="34" charset="0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0021B20-6F0E-4481-874A-F21AE9FD3CC4}"/>
              </a:ext>
            </a:extLst>
          </p:cNvPr>
          <p:cNvSpPr/>
          <p:nvPr userDrawn="1"/>
        </p:nvSpPr>
        <p:spPr>
          <a:xfrm>
            <a:off x="4078816" y="1222000"/>
            <a:ext cx="7681384" cy="10160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>
              <a:latin typeface="RR Pioneer" panose="020B0503050201040103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DA88272-0989-4751-9FC4-6BE74AD9E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94400" y="1502401"/>
            <a:ext cx="7665600" cy="1924800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4267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4E84234-D09A-44F0-A642-50311E6563A9}"/>
              </a:ext>
            </a:extLst>
          </p:cNvPr>
          <p:cNvGrpSpPr/>
          <p:nvPr userDrawn="1"/>
        </p:nvGrpSpPr>
        <p:grpSpPr>
          <a:xfrm>
            <a:off x="431801" y="311150"/>
            <a:ext cx="428348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D366030-8EA6-400B-8126-F22555921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23D295E-C275-4F3C-8581-CA3F7E8E9A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E0C8CC85-87F9-4DDA-9B92-A526A5B601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21801631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57BD6F0-E65B-40FB-A6B0-99AADA93DD53}"/>
              </a:ext>
            </a:extLst>
          </p:cNvPr>
          <p:cNvSpPr/>
          <p:nvPr userDrawn="1"/>
        </p:nvSpPr>
        <p:spPr>
          <a:xfrm>
            <a:off x="3024721" y="0"/>
            <a:ext cx="9167281" cy="4046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1E0BB1-14CD-4110-8446-A161FC1EC3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0F3C3D-8F9E-4BFB-8978-75648D7AA8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66666"/>
                </a:solidFill>
              </a:defRPr>
            </a:lvl1pPr>
          </a:lstStyle>
          <a:p>
            <a:fld id="{B31B4F29-E60F-4AF6-9226-B46F41DB7086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B9991A-4B1A-43A7-8F6E-C0B41E40B2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B65A3A-2EF3-4EB5-8345-0CA07D459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0A7910FC-12D1-4882-A085-8E9EEA95DCA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822400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1947A44-802F-4BE4-AC21-8DC65877378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647020" y="1316565"/>
            <a:ext cx="8113183" cy="1440000"/>
          </a:xfrm>
        </p:spPr>
        <p:txBody>
          <a:bodyPr>
            <a:normAutofit/>
          </a:bodyPr>
          <a:lstStyle>
            <a:lvl1pPr>
              <a:defRPr sz="2667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mphasis or quote with descriptio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184FE39-5C2E-4DB0-9003-91E27BF84B6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647020" y="2908477"/>
            <a:ext cx="8113183" cy="806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4F98FF"/>
                </a:solidFill>
              </a:defRPr>
            </a:lvl1pPr>
            <a:lvl2pPr marL="0" indent="0">
              <a:buNone/>
              <a:defRPr sz="1600">
                <a:solidFill>
                  <a:srgbClr val="4F98FF"/>
                </a:solidFill>
              </a:defRPr>
            </a:lvl2pPr>
          </a:lstStyle>
          <a:p>
            <a:pPr lvl="0"/>
            <a:r>
              <a:rPr lang="en-US" err="1"/>
              <a:t>Attributee</a:t>
            </a:r>
            <a:r>
              <a:rPr lang="en-US"/>
              <a:t>/ source</a:t>
            </a:r>
          </a:p>
          <a:p>
            <a:pPr lvl="1"/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8C8987-4131-4FBB-8271-0CDDA04E9FC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647020" y="4303184"/>
            <a:ext cx="8113183" cy="868800"/>
          </a:xfrm>
        </p:spPr>
        <p:txBody>
          <a:bodyPr>
            <a:normAutofit/>
          </a:bodyPr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mphasis or quote with descrip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1498733-E174-4064-9AD2-1D795DD9249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647020" y="5313600"/>
            <a:ext cx="8113183" cy="806400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err="1"/>
              <a:t>Attributee</a:t>
            </a:r>
            <a:r>
              <a:rPr lang="en-US"/>
              <a:t>/ source</a:t>
            </a:r>
          </a:p>
        </p:txBody>
      </p:sp>
      <p:pic>
        <p:nvPicPr>
          <p:cNvPr id="15" name="Picture 14" descr="Shape, polygon&#10;&#10;Description automatically generated">
            <a:extLst>
              <a:ext uri="{FF2B5EF4-FFF2-40B4-BE49-F238E27FC236}">
                <a16:creationId xmlns:a16="http://schemas.microsoft.com/office/drawing/2014/main" id="{E93BF04B-0F1B-3748-BFF2-EA41104A08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016" y="0"/>
            <a:ext cx="5758985" cy="4169120"/>
          </a:xfrm>
          <a:prstGeom prst="rect">
            <a:avLst/>
          </a:prstGeom>
        </p:spPr>
      </p:pic>
      <p:pic>
        <p:nvPicPr>
          <p:cNvPr id="16" name="Picture 15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B4DE2079-7384-5240-A01E-D0DC4EF8D92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5477" y="355084"/>
            <a:ext cx="2379771" cy="727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48322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&amp; Statement -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A98BA6D-E7C8-4EE9-B3A0-67F6392EEA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RR Pioneer" panose="020B05030502010401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B8D397C-A84F-4549-B3BE-7BDB0C55426B}"/>
              </a:ext>
            </a:extLst>
          </p:cNvPr>
          <p:cNvSpPr/>
          <p:nvPr userDrawn="1"/>
        </p:nvSpPr>
        <p:spPr>
          <a:xfrm>
            <a:off x="0" y="0"/>
            <a:ext cx="12192000" cy="4099728"/>
          </a:xfrm>
          <a:prstGeom prst="rect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RR Pioneer" panose="020B0503050201040103" pitchFamily="34" charset="0"/>
            </a:endParaRPr>
          </a:p>
        </p:txBody>
      </p:sp>
      <p:pic>
        <p:nvPicPr>
          <p:cNvPr id="25" name="Picture 24" descr="Shape, polygon&#10;&#10;Description automatically generated">
            <a:extLst>
              <a:ext uri="{FF2B5EF4-FFF2-40B4-BE49-F238E27FC236}">
                <a16:creationId xmlns:a16="http://schemas.microsoft.com/office/drawing/2014/main" id="{A7C7E2EC-FDF9-374B-A4FD-5F684C3091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016" y="0"/>
            <a:ext cx="5758985" cy="4169120"/>
          </a:xfrm>
          <a:prstGeom prst="rect">
            <a:avLst/>
          </a:prstGeom>
        </p:spPr>
      </p:pic>
      <p:pic>
        <p:nvPicPr>
          <p:cNvPr id="26" name="Picture 25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A08EB0B1-E954-AC4A-AB5F-E19B944C4D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5477" y="355084"/>
            <a:ext cx="2379771" cy="727699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C80C2-2E6C-41EC-BE2A-1E46F50519B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D16CAD04-82EE-48AC-843D-B66634B69CDB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069E08-386A-42EE-8383-8D69F6273331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AED9DA-7609-4503-A270-4035D41ABEB7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87C35724-695E-4AEA-B299-D849E06730E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040000" y="4315200"/>
            <a:ext cx="8112000" cy="868800"/>
          </a:xfrm>
        </p:spPr>
        <p:txBody>
          <a:bodyPr>
            <a:normAutofit/>
          </a:bodyPr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mphasis or quote with description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3DFE1746-274F-42F4-BF60-08561130DC4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040000" y="5313600"/>
            <a:ext cx="8112000" cy="806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4F98FF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err="1"/>
              <a:t>Attributee</a:t>
            </a:r>
            <a:r>
              <a:rPr lang="en-US"/>
              <a:t>/ sourc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211E6DE-C0AE-44F4-9823-73CBD64676B2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9697FB02-C1AA-4AF0-8C5B-BC76AE159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ED76835-AACF-4D22-BB9D-53917C14A0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485F73FD-7CBE-40A8-AD29-215067971D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26B1602-E7F5-4CA8-BD50-1B77547A9E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40000" y="1316567"/>
            <a:ext cx="8112000" cy="1440000"/>
          </a:xfrm>
        </p:spPr>
        <p:txBody>
          <a:bodyPr>
            <a:normAutofit/>
          </a:bodyPr>
          <a:lstStyle>
            <a:lvl1pPr>
              <a:defRPr sz="2667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mphasis or quote with description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1309D30E-C228-4845-AFCC-25E3BF6D962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040002" y="2884800"/>
            <a:ext cx="8113183" cy="806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4F98FF"/>
                </a:solidFill>
              </a:defRPr>
            </a:lvl1pPr>
            <a:lvl2pPr marL="0" indent="0">
              <a:buNone/>
              <a:defRPr sz="1600">
                <a:solidFill>
                  <a:srgbClr val="4F98FF"/>
                </a:solidFill>
              </a:defRPr>
            </a:lvl2pPr>
          </a:lstStyle>
          <a:p>
            <a:pPr lvl="0"/>
            <a:r>
              <a:rPr lang="en-US" err="1"/>
              <a:t>Attributee</a:t>
            </a:r>
            <a:r>
              <a:rPr lang="en-US"/>
              <a:t>/ source</a:t>
            </a:r>
          </a:p>
          <a:p>
            <a:pPr lvl="1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25159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Layout - Til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A75EBFE-964E-4DA8-81BB-6F0601C086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4D45039-F903-4574-A6B7-8457F81F6953}"/>
              </a:ext>
            </a:extLst>
          </p:cNvPr>
          <p:cNvSpPr/>
          <p:nvPr userDrawn="1"/>
        </p:nvSpPr>
        <p:spPr>
          <a:xfrm>
            <a:off x="0" y="2"/>
            <a:ext cx="12192000" cy="5397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D9EBB6-6E60-4CA5-8357-6D7EC52AA6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455CF4-F811-4613-A932-825FCA6D68CE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A3AD2E-41EE-4067-A845-2F32AB57C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175720-87E1-4F51-95F1-F7561C7A5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D0FB40C-46FA-4EF4-B44D-AAC36CFA98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1" y="4329600"/>
            <a:ext cx="1425600" cy="820800"/>
          </a:xfrm>
        </p:spPr>
        <p:txBody>
          <a:bodyPr/>
          <a:lstStyle>
            <a:lvl1pPr>
              <a:defRPr sz="1067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ountry name</a:t>
            </a:r>
          </a:p>
          <a:p>
            <a:pPr lvl="1"/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F26D659-2D09-4BBD-98E2-9893B3A2F8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2400" y="5721600"/>
            <a:ext cx="5548800" cy="441600"/>
          </a:xfrm>
        </p:spPr>
        <p:txBody>
          <a:bodyPr>
            <a:normAutofit/>
          </a:bodyPr>
          <a:lstStyle>
            <a:lvl1pPr>
              <a:defRPr sz="2133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F5C680C-3812-4D9D-AF47-92E6645B56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72801" y="5721600"/>
            <a:ext cx="5592000" cy="441600"/>
          </a:xfrm>
        </p:spPr>
        <p:txBody>
          <a:bodyPr>
            <a:norm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Body text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9605A82-1304-4ED2-B22F-5ABA6AA54334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61D79A52-73E3-402A-AC2F-1B148400891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B96250AB-43D7-479B-AB50-FD80DBE4D0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5D7C17A3-ED10-45F2-B2A4-AEA1CFCCE7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6" name="Picture 15" descr="Shape, polygon&#10;&#10;Description automatically generated">
            <a:extLst>
              <a:ext uri="{FF2B5EF4-FFF2-40B4-BE49-F238E27FC236}">
                <a16:creationId xmlns:a16="http://schemas.microsoft.com/office/drawing/2014/main" id="{C1DAD4C0-339B-0448-871E-574926A222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034" y="-1799"/>
            <a:ext cx="5758967" cy="4169107"/>
          </a:xfrm>
          <a:prstGeom prst="rect">
            <a:avLst/>
          </a:prstGeom>
        </p:spPr>
      </p:pic>
      <p:pic>
        <p:nvPicPr>
          <p:cNvPr id="17" name="Picture 16" descr="Text&#10;&#10;Description automatically generated">
            <a:extLst>
              <a:ext uri="{FF2B5EF4-FFF2-40B4-BE49-F238E27FC236}">
                <a16:creationId xmlns:a16="http://schemas.microsoft.com/office/drawing/2014/main" id="{1A90207B-7E12-5B46-AA99-AF7857DA6C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4380" y="355084"/>
            <a:ext cx="2379771" cy="727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80502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&amp;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7DC009-70F6-4F24-9A70-D8783A7F9A2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42DB91-F56E-44CE-95AC-6C9B5FB8D7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49393B0-C2C9-4C07-915B-162409D70B84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A82683-CCED-4B80-AB8A-FFAACD4977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983FAC-3460-47FC-A354-50D4574E33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976E39A-C8B9-4711-A08E-9ABF2477D189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041FB2D3-51A0-4DFD-A09B-DB65531DA53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A8DDCA9-A25A-4C99-9E34-1EF7028FF5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D99B5AC-2ED2-407F-8377-6BE6BC12A8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7" name="Picture 16" descr="Shape, polygon&#10;&#10;Description automatically generated">
            <a:extLst>
              <a:ext uri="{FF2B5EF4-FFF2-40B4-BE49-F238E27FC236}">
                <a16:creationId xmlns:a16="http://schemas.microsoft.com/office/drawing/2014/main" id="{876B989A-F75C-F24B-977F-F822708306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016" y="0"/>
            <a:ext cx="5758985" cy="4169120"/>
          </a:xfrm>
          <a:prstGeom prst="rect">
            <a:avLst/>
          </a:prstGeom>
        </p:spPr>
      </p:pic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FFEC487-41AD-4CDB-8179-89EEC7B85F4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647020" y="1316565"/>
            <a:ext cx="8113183" cy="3177600"/>
          </a:xfrm>
        </p:spPr>
        <p:txBody>
          <a:bodyPr>
            <a:normAutofit/>
          </a:bodyPr>
          <a:lstStyle>
            <a:lvl1pPr>
              <a:defRPr sz="2667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mphasis or quote with description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4CE5A45B-CB90-430B-AF44-54A22E1DE44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647020" y="4838402"/>
            <a:ext cx="8113183" cy="554567"/>
          </a:xfrm>
        </p:spPr>
        <p:txBody>
          <a:bodyPr>
            <a:normAutofit/>
          </a:bodyPr>
          <a:lstStyle>
            <a:lvl1pPr>
              <a:defRPr sz="1600">
                <a:solidFill>
                  <a:srgbClr val="4F98FF"/>
                </a:solidFill>
              </a:defRPr>
            </a:lvl1pPr>
            <a:lvl2pPr marL="0" indent="0">
              <a:buNone/>
              <a:defRPr sz="1600">
                <a:solidFill>
                  <a:srgbClr val="4F98FF"/>
                </a:solidFill>
              </a:defRPr>
            </a:lvl2pPr>
          </a:lstStyle>
          <a:p>
            <a:pPr lvl="0"/>
            <a:r>
              <a:rPr lang="en-US" err="1"/>
              <a:t>Attributee</a:t>
            </a:r>
            <a:r>
              <a:rPr lang="en-US"/>
              <a:t>/ source</a:t>
            </a:r>
          </a:p>
          <a:p>
            <a:pPr lvl="1"/>
            <a:endParaRPr lang="en-GB"/>
          </a:p>
        </p:txBody>
      </p:sp>
      <p:pic>
        <p:nvPicPr>
          <p:cNvPr id="18" name="Picture 17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A4BB4E75-386D-BA4D-8294-8D3B5F051D8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5477" y="355084"/>
            <a:ext cx="2379771" cy="727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80869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, Q&amp;A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A75EBFE-964E-4DA8-81BB-6F0601C086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4D45039-F903-4574-A6B7-8457F81F6953}"/>
              </a:ext>
            </a:extLst>
          </p:cNvPr>
          <p:cNvSpPr/>
          <p:nvPr userDrawn="1"/>
        </p:nvSpPr>
        <p:spPr>
          <a:xfrm>
            <a:off x="3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D9EBB6-6E60-4CA5-8357-6D7EC52AA6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280E2AA-055C-4B1C-AEAB-120D92D49D99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A3AD2E-41EE-4067-A845-2F32AB57C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175720-87E1-4F51-95F1-F7561C7A5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D0FB40C-46FA-4EF4-B44D-AAC36CFA98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1" y="4329600"/>
            <a:ext cx="1425600" cy="820800"/>
          </a:xfrm>
        </p:spPr>
        <p:txBody>
          <a:bodyPr/>
          <a:lstStyle>
            <a:lvl1pPr>
              <a:defRPr sz="1067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ountry name</a:t>
            </a:r>
          </a:p>
          <a:p>
            <a:pPr lvl="1"/>
            <a:endParaRPr lang="en-GB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D1FA37D-9EF3-4FE7-97EA-95ADBBE0D1A6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8099A84B-FD56-4CFD-9910-79177D8D5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5C5F919F-0718-4A3C-BD91-8D26769D9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F82B3CD5-BEF3-4A42-BB37-A6A2EAE727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4" name="Picture 13" descr="Shape, polygon&#10;&#10;Description automatically generated">
            <a:extLst>
              <a:ext uri="{FF2B5EF4-FFF2-40B4-BE49-F238E27FC236}">
                <a16:creationId xmlns:a16="http://schemas.microsoft.com/office/drawing/2014/main" id="{30E4B56A-7233-2D4F-BCBB-0ED81CE06D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034" y="-1799"/>
            <a:ext cx="5758967" cy="4169107"/>
          </a:xfrm>
          <a:prstGeom prst="rect">
            <a:avLst/>
          </a:prstGeom>
        </p:spPr>
      </p:pic>
      <p:pic>
        <p:nvPicPr>
          <p:cNvPr id="15" name="Picture 14" descr="Text&#10;&#10;Description automatically generated">
            <a:extLst>
              <a:ext uri="{FF2B5EF4-FFF2-40B4-BE49-F238E27FC236}">
                <a16:creationId xmlns:a16="http://schemas.microsoft.com/office/drawing/2014/main" id="{C4BAF3B3-8F6B-2D4C-92E1-A03BC1ED4C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4380" y="355084"/>
            <a:ext cx="2379771" cy="727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48035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-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6DEDAE5-0FD4-44FE-A85E-759428EB715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pic>
        <p:nvPicPr>
          <p:cNvPr id="12" name="Picture 11" descr="Shape, polygon&#10;&#10;Description automatically generated">
            <a:extLst>
              <a:ext uri="{FF2B5EF4-FFF2-40B4-BE49-F238E27FC236}">
                <a16:creationId xmlns:a16="http://schemas.microsoft.com/office/drawing/2014/main" id="{CC82097A-C37A-9848-AE96-2E1D539FF0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2CDEE8-151E-4D41-89C2-E6FF81A443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B590A9-4485-468F-9C24-6F6026C39B54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57C5C5-AF97-40C6-AEC5-54D1F5FB0D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AF1169-050B-4604-A3CE-30B241B659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F79E64A-4F7F-4C3D-9F78-DA6F2D8592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3" y="4510617"/>
            <a:ext cx="11328400" cy="886883"/>
          </a:xfrm>
        </p:spPr>
        <p:txBody>
          <a:bodyPr>
            <a:normAutofit/>
          </a:bodyPr>
          <a:lstStyle>
            <a:lvl1pPr algn="ctr">
              <a:defRPr sz="2400"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7333F1F-70B8-4633-8D8F-23CFA3789148}"/>
              </a:ext>
            </a:extLst>
          </p:cNvPr>
          <p:cNvGrpSpPr/>
          <p:nvPr userDrawn="1"/>
        </p:nvGrpSpPr>
        <p:grpSpPr>
          <a:xfrm>
            <a:off x="5439312" y="1961812"/>
            <a:ext cx="1392000" cy="2256000"/>
            <a:chOff x="-3513606" y="270529"/>
            <a:chExt cx="1671638" cy="2717801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8879E113-EDFA-4DEE-9AB1-0E7F19C7B31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37101E0A-B80D-492F-AEB2-8B162EEF4F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E87FA36E-21E8-4606-A40C-62BAF789FD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80"/>
              <a:ext cx="1236662" cy="2378074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3" name="Picture 12" descr="A picture containing text&#10;&#10;Description automatically generated">
            <a:extLst>
              <a:ext uri="{FF2B5EF4-FFF2-40B4-BE49-F238E27FC236}">
                <a16:creationId xmlns:a16="http://schemas.microsoft.com/office/drawing/2014/main" id="{C696965A-5138-2C47-B199-AA3430A71A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5426" y="5579501"/>
            <a:ext cx="2379771" cy="727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70539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R Graph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A0533C-2E3C-4955-BD3D-AF17FDE145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63EC7B87-80DB-4B9D-96FE-F56770313FEB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431800" y="2568603"/>
            <a:ext cx="2148443" cy="28289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400" dirty="0"/>
            </a:lvl1pPr>
          </a:lstStyle>
          <a:p>
            <a:pPr lvl="0">
              <a:spcBef>
                <a:spcPts val="800"/>
              </a:spcBef>
            </a:pPr>
            <a:r>
              <a:rPr lang="en-US"/>
              <a:t>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ABD2D006-D038-48EA-AD68-284BFCBFA64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311741" y="309037"/>
            <a:ext cx="8448463" cy="5494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3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6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83" indent="0" algn="l" defTabSz="9143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66" indent="0" algn="l" defTabSz="9143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50" indent="0" algn="l" defTabSz="9143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32" indent="0" algn="l" defTabSz="9143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hart title</a:t>
            </a:r>
            <a:endParaRPr lang="en-GB"/>
          </a:p>
        </p:txBody>
      </p:sp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A71CF9B4-14BF-41C2-B8F3-FD105018E383}"/>
              </a:ext>
            </a:extLst>
          </p:cNvPr>
          <p:cNvSpPr>
            <a:spLocks noGrp="1"/>
          </p:cNvSpPr>
          <p:nvPr>
            <p:ph type="chart" sz="quarter" idx="40"/>
          </p:nvPr>
        </p:nvSpPr>
        <p:spPr>
          <a:xfrm>
            <a:off x="3311737" y="1316569"/>
            <a:ext cx="8448464" cy="4849283"/>
          </a:xfrm>
        </p:spPr>
        <p:txBody>
          <a:bodyPr/>
          <a:lstStyle/>
          <a:p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96018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-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58A6D69-BAB1-4B9F-9F1C-0C24500536B0}"/>
              </a:ext>
            </a:extLst>
          </p:cNvPr>
          <p:cNvSpPr/>
          <p:nvPr userDrawn="1"/>
        </p:nvSpPr>
        <p:spPr>
          <a:xfrm>
            <a:off x="0" y="0"/>
            <a:ext cx="3024717" cy="68580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866501-94BF-4885-98F6-EEE0E73F8CFF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75CAF40-DCF1-404F-A98A-2CD51C225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200" y="11904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rgbClr val="E21D60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B4DE9B5E-37A7-40D8-8ACF-3DCE9F9964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4800" y="1315200"/>
            <a:ext cx="69552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Presenter name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7088707D-4FCB-41DE-A56D-ADEB3FE76F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19200" y="24432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chemeClr val="bg2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D40E0593-EB9B-4A05-80F6-A08DEB72D2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4800" y="2568000"/>
            <a:ext cx="6955200" cy="864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A7C7ECF3-9B0C-4FDE-89C6-E6FD13011A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19200" y="36960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chemeClr val="accent3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EF7B9319-A865-41BA-A7C5-F298FBFA04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800" y="3816000"/>
            <a:ext cx="69552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6477CD61-8155-4897-9AA4-43468BB495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19200" y="49488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chemeClr val="accent6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A99FD2FE-C1D1-4613-80A2-068D29011B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800" y="5068800"/>
            <a:ext cx="69552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CAFC836-4963-47F9-BC3B-0B6C1DAD7896}"/>
              </a:ext>
            </a:extLst>
          </p:cNvPr>
          <p:cNvGrpSpPr/>
          <p:nvPr userDrawn="1"/>
        </p:nvGrpSpPr>
        <p:grpSpPr>
          <a:xfrm>
            <a:off x="431801" y="311150"/>
            <a:ext cx="428348" cy="696421"/>
            <a:chOff x="-3513606" y="270529"/>
            <a:chExt cx="1671638" cy="2717801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7ABDE79D-B0E6-4DC4-A845-545392106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62E61D16-AB74-4296-9622-4354B32EAA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A4C0366C-9625-4286-9F70-64F6B3DBB9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365613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- 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58A6D69-BAB1-4B9F-9F1C-0C24500536B0}"/>
              </a:ext>
            </a:extLst>
          </p:cNvPr>
          <p:cNvSpPr/>
          <p:nvPr userDrawn="1"/>
        </p:nvSpPr>
        <p:spPr>
          <a:xfrm>
            <a:off x="0" y="0"/>
            <a:ext cx="3024717" cy="68580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7E5630-3E87-4053-9B3B-D7AF661A5AB2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75CAF40-DCF1-404F-A98A-2CD51C225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16800" y="1123200"/>
            <a:ext cx="988800" cy="902400"/>
          </a:xfrm>
        </p:spPr>
        <p:txBody>
          <a:bodyPr anchor="ctr" anchorCtr="0">
            <a:noAutofit/>
          </a:bodyPr>
          <a:lstStyle>
            <a:lvl1pPr algn="r">
              <a:defRPr sz="4267" spc="533" baseline="0">
                <a:solidFill>
                  <a:srgbClr val="00BFBD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B4DE9B5E-37A7-40D8-8ACF-3DCE9F9964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40000" y="1315200"/>
            <a:ext cx="30096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Presenter name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7088707D-4FCB-41DE-A56D-ADEB3FE76F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16800" y="2376000"/>
            <a:ext cx="988800" cy="902400"/>
          </a:xfrm>
        </p:spPr>
        <p:txBody>
          <a:bodyPr anchor="ctr" anchorCtr="0">
            <a:noAutofit/>
          </a:bodyPr>
          <a:lstStyle>
            <a:lvl1pPr algn="r">
              <a:defRPr sz="4267" spc="533" baseline="0">
                <a:solidFill>
                  <a:schemeClr val="tx2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D40E0593-EB9B-4A05-80F6-A08DEB72D2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40000" y="2568000"/>
            <a:ext cx="3009600" cy="864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A7C7ECF3-9B0C-4FDE-89C6-E6FD13011A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16800" y="3638400"/>
            <a:ext cx="988800" cy="902400"/>
          </a:xfrm>
        </p:spPr>
        <p:txBody>
          <a:bodyPr anchor="ctr" anchorCtr="0">
            <a:noAutofit/>
          </a:bodyPr>
          <a:lstStyle>
            <a:lvl1pPr algn="r">
              <a:defRPr sz="4267" spc="533" baseline="0">
                <a:solidFill>
                  <a:schemeClr val="accent4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EF7B9319-A865-41BA-A7C5-F298FBFA04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40000" y="3816000"/>
            <a:ext cx="30096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6477CD61-8155-4897-9AA4-43468BB495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16800" y="4891200"/>
            <a:ext cx="988800" cy="902400"/>
          </a:xfrm>
        </p:spPr>
        <p:txBody>
          <a:bodyPr anchor="ctr" anchorCtr="0">
            <a:noAutofit/>
          </a:bodyPr>
          <a:lstStyle>
            <a:lvl1pPr algn="r">
              <a:defRPr sz="4267" spc="533" baseline="0">
                <a:solidFill>
                  <a:schemeClr val="accent3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A99FD2FE-C1D1-4613-80A2-068D29011B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40000" y="5068800"/>
            <a:ext cx="30096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3687C8C2-4A6E-4505-A0CA-BD757C18783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627200" y="1123200"/>
            <a:ext cx="988800" cy="902400"/>
          </a:xfrm>
        </p:spPr>
        <p:txBody>
          <a:bodyPr anchor="ctr" anchorCtr="0">
            <a:noAutofit/>
          </a:bodyPr>
          <a:lstStyle>
            <a:lvl1pPr algn="r">
              <a:defRPr sz="4267" spc="533" baseline="0">
                <a:solidFill>
                  <a:schemeClr val="accent5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B007AE3F-C973-4099-83AB-43B7623EE2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50400" y="1315200"/>
            <a:ext cx="30096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Presenter nam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05BCD523-3C1D-4657-82AD-B6CCC31CE74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27200" y="2376000"/>
            <a:ext cx="988800" cy="902400"/>
          </a:xfrm>
        </p:spPr>
        <p:txBody>
          <a:bodyPr anchor="ctr" anchorCtr="0">
            <a:noAutofit/>
          </a:bodyPr>
          <a:lstStyle>
            <a:lvl1pPr algn="r">
              <a:defRPr sz="4267" spc="533" baseline="0">
                <a:solidFill>
                  <a:schemeClr val="accent6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572D1E19-E6B1-48CE-98A6-AF80ACBBBE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50400" y="2568000"/>
            <a:ext cx="3009600" cy="864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D07DE159-2594-469A-8B54-C29C5B00E6C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7200" y="3638400"/>
            <a:ext cx="988800" cy="902400"/>
          </a:xfrm>
        </p:spPr>
        <p:txBody>
          <a:bodyPr anchor="ctr" anchorCtr="0">
            <a:noAutofit/>
          </a:bodyPr>
          <a:lstStyle>
            <a:lvl1pPr algn="r">
              <a:defRPr sz="4267" spc="533" baseline="0">
                <a:solidFill>
                  <a:srgbClr val="E21D60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6CC6ABBC-E647-46D6-BC80-A3A224653C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50400" y="3816000"/>
            <a:ext cx="30096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15616DB8-38F8-4E2A-B14D-A688F836501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627200" y="4891200"/>
            <a:ext cx="988800" cy="902400"/>
          </a:xfrm>
        </p:spPr>
        <p:txBody>
          <a:bodyPr anchor="ctr" anchorCtr="0">
            <a:noAutofit/>
          </a:bodyPr>
          <a:lstStyle>
            <a:lvl1pPr algn="r">
              <a:defRPr sz="4267" spc="533" baseline="0">
                <a:solidFill>
                  <a:schemeClr val="bg2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FD1008C4-EB83-4B7B-9AF7-42BBDD1CE3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50400" y="5068800"/>
            <a:ext cx="30096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952C0B6-FB7C-4FD1-B2A3-179DF9E4C6C7}"/>
              </a:ext>
            </a:extLst>
          </p:cNvPr>
          <p:cNvGrpSpPr/>
          <p:nvPr userDrawn="1"/>
        </p:nvGrpSpPr>
        <p:grpSpPr>
          <a:xfrm>
            <a:off x="431801" y="311150"/>
            <a:ext cx="428348" cy="696421"/>
            <a:chOff x="-3513606" y="270529"/>
            <a:chExt cx="1671638" cy="2717801"/>
          </a:xfrm>
        </p:grpSpPr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9418B0CB-56F6-4CF9-BE32-C906009562B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2EF03D4-0BFE-4342-AD89-A662AE3316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D309E01-CAB8-418A-9896-B00D268B2B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9854020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- Tim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58A6D69-BAB1-4B9F-9F1C-0C24500536B0}"/>
              </a:ext>
            </a:extLst>
          </p:cNvPr>
          <p:cNvSpPr/>
          <p:nvPr userDrawn="1"/>
        </p:nvSpPr>
        <p:spPr>
          <a:xfrm>
            <a:off x="0" y="0"/>
            <a:ext cx="3024717" cy="68580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F2DADD-3DE1-44C1-958C-1BF52E347DCF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75CAF40-DCF1-404F-A98A-2CD51C225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48000" y="1228800"/>
            <a:ext cx="1219200" cy="657600"/>
          </a:xfrm>
        </p:spPr>
        <p:txBody>
          <a:bodyPr anchor="ctr" anchorCtr="0">
            <a:noAutofit/>
          </a:bodyPr>
          <a:lstStyle>
            <a:lvl1pPr algn="l">
              <a:defRPr sz="4267" spc="0" baseline="0">
                <a:solidFill>
                  <a:schemeClr val="tx2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7088707D-4FCB-41DE-A56D-ADEB3FE76F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48000" y="1891200"/>
            <a:ext cx="1219200" cy="657600"/>
          </a:xfrm>
        </p:spPr>
        <p:txBody>
          <a:bodyPr anchor="ctr" anchorCtr="0">
            <a:noAutofit/>
          </a:bodyPr>
          <a:lstStyle>
            <a:lvl1pPr algn="l">
              <a:defRPr sz="4267" spc="0" baseline="0">
                <a:solidFill>
                  <a:schemeClr val="bg2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A7C7ECF3-9B0C-4FDE-89C6-E6FD13011A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48000" y="2548800"/>
            <a:ext cx="1219200" cy="657600"/>
          </a:xfrm>
        </p:spPr>
        <p:txBody>
          <a:bodyPr anchor="ctr" anchorCtr="0">
            <a:noAutofit/>
          </a:bodyPr>
          <a:lstStyle>
            <a:lvl1pPr algn="l">
              <a:defRPr sz="4267" spc="0" baseline="0">
                <a:solidFill>
                  <a:srgbClr val="00BFBD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6477CD61-8155-4897-9AA4-43468BB495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48000" y="3206400"/>
            <a:ext cx="1219200" cy="657600"/>
          </a:xfrm>
        </p:spPr>
        <p:txBody>
          <a:bodyPr anchor="ctr" anchorCtr="0">
            <a:noAutofit/>
          </a:bodyPr>
          <a:lstStyle>
            <a:lvl1pPr algn="l">
              <a:defRPr sz="4267" spc="0" baseline="0">
                <a:solidFill>
                  <a:schemeClr val="accent3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CC185541-CC8A-415B-920E-1D25F0BDFD5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648000" y="3864000"/>
            <a:ext cx="1219200" cy="657600"/>
          </a:xfrm>
        </p:spPr>
        <p:txBody>
          <a:bodyPr anchor="ctr" anchorCtr="0">
            <a:noAutofit/>
          </a:bodyPr>
          <a:lstStyle>
            <a:lvl1pPr algn="l">
              <a:defRPr sz="4267" spc="0" baseline="0">
                <a:solidFill>
                  <a:srgbClr val="8C2ACE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27521806-5F3E-4380-9018-52D90E68A6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648000" y="4521600"/>
            <a:ext cx="1219200" cy="657600"/>
          </a:xfrm>
        </p:spPr>
        <p:txBody>
          <a:bodyPr anchor="ctr" anchorCtr="0">
            <a:noAutofit/>
          </a:bodyPr>
          <a:lstStyle>
            <a:lvl1pPr algn="l">
              <a:defRPr sz="4267" spc="0" baseline="0">
                <a:solidFill>
                  <a:schemeClr val="accent6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B58788C1-4EE6-4FF8-9EEB-648CFA84C8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48000" y="5179200"/>
            <a:ext cx="1219200" cy="657600"/>
          </a:xfrm>
        </p:spPr>
        <p:txBody>
          <a:bodyPr anchor="ctr" anchorCtr="0">
            <a:noAutofit/>
          </a:bodyPr>
          <a:lstStyle>
            <a:lvl1pPr algn="l">
              <a:defRPr sz="4267" spc="0" baseline="0">
                <a:solidFill>
                  <a:srgbClr val="E21D60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8" name="Text Placeholder 17">
            <a:extLst>
              <a:ext uri="{FF2B5EF4-FFF2-40B4-BE49-F238E27FC236}">
                <a16:creationId xmlns:a16="http://schemas.microsoft.com/office/drawing/2014/main" id="{B7DB6273-4136-4735-8763-3EBF05198DF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868800" y="1228800"/>
            <a:ext cx="4891200" cy="657600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666666"/>
                </a:solidFill>
                <a:latin typeface="+mj-lt"/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1"/>
            <a:r>
              <a:rPr lang="en-US"/>
              <a:t>Topic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E2FD8835-740D-496D-A8C7-CB6621301C2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868800" y="1887200"/>
            <a:ext cx="4891200" cy="657600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666666"/>
                </a:solidFill>
                <a:latin typeface="+mj-lt"/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1"/>
            <a:r>
              <a:rPr lang="en-US"/>
              <a:t>Topic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46D5B35D-AB37-4A9E-A09C-8BA5D426099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68800" y="2545600"/>
            <a:ext cx="4891200" cy="657600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666666"/>
                </a:solidFill>
                <a:latin typeface="+mj-lt"/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1"/>
            <a:r>
              <a:rPr lang="en-US"/>
              <a:t>Topic</a:t>
            </a:r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C646F4CC-15E4-401F-BC27-7CF470DCE2C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868800" y="3204000"/>
            <a:ext cx="4891200" cy="657600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666666"/>
                </a:solidFill>
                <a:latin typeface="+mj-lt"/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1"/>
            <a:r>
              <a:rPr lang="en-US"/>
              <a:t>Topic</a:t>
            </a:r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394A2C57-4795-4A36-85B1-5B848A8707A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868800" y="3862400"/>
            <a:ext cx="4891200" cy="657600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666666"/>
                </a:solidFill>
                <a:latin typeface="+mj-lt"/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1"/>
            <a:r>
              <a:rPr lang="en-US"/>
              <a:t>Topic</a:t>
            </a:r>
          </a:p>
        </p:txBody>
      </p:sp>
      <p:sp>
        <p:nvSpPr>
          <p:cNvPr id="43" name="Text Placeholder 17">
            <a:extLst>
              <a:ext uri="{FF2B5EF4-FFF2-40B4-BE49-F238E27FC236}">
                <a16:creationId xmlns:a16="http://schemas.microsoft.com/office/drawing/2014/main" id="{BC74ED1D-CCC6-4EB3-B2BC-1AB9813A31F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868800" y="4520800"/>
            <a:ext cx="4891200" cy="657600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666666"/>
                </a:solidFill>
                <a:latin typeface="+mj-lt"/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1"/>
            <a:r>
              <a:rPr lang="en-US"/>
              <a:t>Topic</a:t>
            </a:r>
          </a:p>
        </p:txBody>
      </p:sp>
      <p:sp>
        <p:nvSpPr>
          <p:cNvPr id="44" name="Text Placeholder 17">
            <a:extLst>
              <a:ext uri="{FF2B5EF4-FFF2-40B4-BE49-F238E27FC236}">
                <a16:creationId xmlns:a16="http://schemas.microsoft.com/office/drawing/2014/main" id="{CFB69E36-8C34-444C-883B-9706E37C8D4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68800" y="5179200"/>
            <a:ext cx="4891200" cy="657600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666666"/>
                </a:solidFill>
                <a:latin typeface="+mj-lt"/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1"/>
            <a:r>
              <a:rPr lang="en-US"/>
              <a:t>Topic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EFAE492-7044-43E5-9F2A-214E993BE17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866217" y="1229784"/>
            <a:ext cx="1761600" cy="657600"/>
          </a:xfrm>
        </p:spPr>
        <p:txBody>
          <a:bodyPr anchor="ctr" anchorCtr="0">
            <a:normAutofit/>
          </a:bodyPr>
          <a:lstStyle>
            <a:lvl1pPr>
              <a:defRPr sz="1600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AD6B0FDE-EEBD-4BC4-B16C-63B0D55C8FE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866217" y="1888020"/>
            <a:ext cx="1761600" cy="657600"/>
          </a:xfrm>
        </p:spPr>
        <p:txBody>
          <a:bodyPr anchor="ctr" anchorCtr="0">
            <a:normAutofit/>
          </a:bodyPr>
          <a:lstStyle>
            <a:lvl1pPr>
              <a:defRPr sz="1600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3D3DF682-7299-4E4B-A5D9-681CDA40BCF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866217" y="5179200"/>
            <a:ext cx="1761600" cy="657600"/>
          </a:xfrm>
        </p:spPr>
        <p:txBody>
          <a:bodyPr anchor="ctr" anchorCtr="0">
            <a:normAutofit/>
          </a:bodyPr>
          <a:lstStyle>
            <a:lvl1pPr>
              <a:defRPr sz="1600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4E12F9DD-D5DB-4218-9BE4-F03DB8DCA7D1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866217" y="4520964"/>
            <a:ext cx="1761600" cy="657600"/>
          </a:xfrm>
        </p:spPr>
        <p:txBody>
          <a:bodyPr anchor="ctr" anchorCtr="0">
            <a:normAutofit/>
          </a:bodyPr>
          <a:lstStyle>
            <a:lvl1pPr>
              <a:defRPr sz="1600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127E20F4-00C6-4A59-97CD-90AA85101EF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866217" y="3862728"/>
            <a:ext cx="1761600" cy="657600"/>
          </a:xfrm>
        </p:spPr>
        <p:txBody>
          <a:bodyPr anchor="ctr" anchorCtr="0">
            <a:normAutofit/>
          </a:bodyPr>
          <a:lstStyle>
            <a:lvl1pPr>
              <a:defRPr sz="1600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3DA1B93C-BCED-424F-8F7C-7505E8D8A5F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866217" y="3204492"/>
            <a:ext cx="1761600" cy="657600"/>
          </a:xfrm>
        </p:spPr>
        <p:txBody>
          <a:bodyPr anchor="ctr" anchorCtr="0">
            <a:normAutofit/>
          </a:bodyPr>
          <a:lstStyle>
            <a:lvl1pPr>
              <a:defRPr sz="1600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CC2D9536-24A9-498D-9B2D-3DBC533913E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866217" y="2546256"/>
            <a:ext cx="1761600" cy="657600"/>
          </a:xfrm>
        </p:spPr>
        <p:txBody>
          <a:bodyPr anchor="ctr" anchorCtr="0">
            <a:normAutofit/>
          </a:bodyPr>
          <a:lstStyle>
            <a:lvl1pPr>
              <a:defRPr sz="1600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1F5803C-9204-4C30-889B-0A91AF213B35}"/>
              </a:ext>
            </a:extLst>
          </p:cNvPr>
          <p:cNvGrpSpPr/>
          <p:nvPr userDrawn="1"/>
        </p:nvGrpSpPr>
        <p:grpSpPr>
          <a:xfrm>
            <a:off x="431801" y="311150"/>
            <a:ext cx="428348" cy="696421"/>
            <a:chOff x="-3513606" y="270529"/>
            <a:chExt cx="1671638" cy="2717801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C9B78F6D-48CE-4438-9CDD-777FCC37C7D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4973EB05-B274-4062-8A03-EF3F22682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541225BD-577D-4D70-A0D9-73F6EB4E18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997044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- Presenter Na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58A6D69-BAB1-4B9F-9F1C-0C24500536B0}"/>
              </a:ext>
            </a:extLst>
          </p:cNvPr>
          <p:cNvSpPr/>
          <p:nvPr userDrawn="1"/>
        </p:nvSpPr>
        <p:spPr>
          <a:xfrm>
            <a:off x="0" y="0"/>
            <a:ext cx="3024717" cy="68580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1706D6-4C69-4F10-AE43-A50BE9E83B98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75CAF40-DCF1-404F-A98A-2CD51C225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18400" y="1257600"/>
            <a:ext cx="926400" cy="849600"/>
          </a:xfrm>
        </p:spPr>
        <p:txBody>
          <a:bodyPr anchor="t" anchorCtr="0">
            <a:noAutofit/>
          </a:bodyPr>
          <a:lstStyle>
            <a:lvl1pPr algn="r">
              <a:defRPr sz="4267" spc="0" baseline="0">
                <a:solidFill>
                  <a:schemeClr val="tx2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A7C7ECF3-9B0C-4FDE-89C6-E6FD13011A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18400" y="3619200"/>
            <a:ext cx="926400" cy="849600"/>
          </a:xfrm>
        </p:spPr>
        <p:txBody>
          <a:bodyPr anchor="t" anchorCtr="0">
            <a:noAutofit/>
          </a:bodyPr>
          <a:lstStyle>
            <a:lvl1pPr algn="r">
              <a:defRPr sz="4267" spc="0" baseline="0">
                <a:solidFill>
                  <a:schemeClr val="accent4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6477CD61-8155-4897-9AA4-43468BB495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8400" y="4800000"/>
            <a:ext cx="926400" cy="849600"/>
          </a:xfrm>
        </p:spPr>
        <p:txBody>
          <a:bodyPr anchor="t" anchorCtr="0">
            <a:noAutofit/>
          </a:bodyPr>
          <a:lstStyle>
            <a:lvl1pPr algn="r">
              <a:defRPr sz="4267" spc="0" baseline="0">
                <a:solidFill>
                  <a:schemeClr val="accent3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87" name="Text Placeholder 13">
            <a:extLst>
              <a:ext uri="{FF2B5EF4-FFF2-40B4-BE49-F238E27FC236}">
                <a16:creationId xmlns:a16="http://schemas.microsoft.com/office/drawing/2014/main" id="{63EC7F57-1C57-4358-A3D7-1FA28962C29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734800" y="2438400"/>
            <a:ext cx="926400" cy="849600"/>
          </a:xfrm>
        </p:spPr>
        <p:txBody>
          <a:bodyPr anchor="t" anchorCtr="0">
            <a:noAutofit/>
          </a:bodyPr>
          <a:lstStyle>
            <a:lvl1pPr algn="r">
              <a:defRPr sz="4267" spc="0" baseline="0">
                <a:solidFill>
                  <a:schemeClr val="accent6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96" name="Text Placeholder 13">
            <a:extLst>
              <a:ext uri="{FF2B5EF4-FFF2-40B4-BE49-F238E27FC236}">
                <a16:creationId xmlns:a16="http://schemas.microsoft.com/office/drawing/2014/main" id="{FF50AA91-B7F7-4254-8161-4183AF6D69EB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7734800" y="3619200"/>
            <a:ext cx="926400" cy="849600"/>
          </a:xfrm>
        </p:spPr>
        <p:txBody>
          <a:bodyPr anchor="t" anchorCtr="0">
            <a:noAutofit/>
          </a:bodyPr>
          <a:lstStyle>
            <a:lvl1pPr algn="r">
              <a:defRPr sz="4267" spc="0" baseline="0">
                <a:solidFill>
                  <a:srgbClr val="E21D60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05" name="Text Placeholder 11">
            <a:extLst>
              <a:ext uri="{FF2B5EF4-FFF2-40B4-BE49-F238E27FC236}">
                <a16:creationId xmlns:a16="http://schemas.microsoft.com/office/drawing/2014/main" id="{7DFE5359-80DA-4AB8-9A32-B728CAEF990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84000" y="16080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06" name="Text Placeholder 11">
            <a:extLst>
              <a:ext uri="{FF2B5EF4-FFF2-40B4-BE49-F238E27FC236}">
                <a16:creationId xmlns:a16="http://schemas.microsoft.com/office/drawing/2014/main" id="{E98F95EC-068C-4AB0-8DA6-8C8C7D9CE37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584000" y="20688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107" name="Text Placeholder 11">
            <a:extLst>
              <a:ext uri="{FF2B5EF4-FFF2-40B4-BE49-F238E27FC236}">
                <a16:creationId xmlns:a16="http://schemas.microsoft.com/office/drawing/2014/main" id="{3DEF6142-04CC-4ED6-BF99-0ADD61431509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4584000" y="18384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108" name="Text Placeholder 11">
            <a:extLst>
              <a:ext uri="{FF2B5EF4-FFF2-40B4-BE49-F238E27FC236}">
                <a16:creationId xmlns:a16="http://schemas.microsoft.com/office/drawing/2014/main" id="{3DB19055-F0A4-4433-98DA-7C3EC1DED3AC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7137600" y="16080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09" name="Text Placeholder 11">
            <a:extLst>
              <a:ext uri="{FF2B5EF4-FFF2-40B4-BE49-F238E27FC236}">
                <a16:creationId xmlns:a16="http://schemas.microsoft.com/office/drawing/2014/main" id="{5988A211-A462-4382-9B73-C6622E3C117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7137600" y="20688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10" name="Text Placeholder 11">
            <a:extLst>
              <a:ext uri="{FF2B5EF4-FFF2-40B4-BE49-F238E27FC236}">
                <a16:creationId xmlns:a16="http://schemas.microsoft.com/office/drawing/2014/main" id="{C6FEFAFE-30D6-4F88-9D1A-C7AEB8F9EC5F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7137600" y="18384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37" name="Text Placeholder 13">
            <a:extLst>
              <a:ext uri="{FF2B5EF4-FFF2-40B4-BE49-F238E27FC236}">
                <a16:creationId xmlns:a16="http://schemas.microsoft.com/office/drawing/2014/main" id="{9494BA91-4138-4485-885B-A9F489117268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3518400" y="2438400"/>
            <a:ext cx="926400" cy="849600"/>
          </a:xfrm>
        </p:spPr>
        <p:txBody>
          <a:bodyPr anchor="t" anchorCtr="0">
            <a:noAutofit/>
          </a:bodyPr>
          <a:lstStyle>
            <a:lvl1pPr algn="r">
              <a:defRPr sz="4267" spc="0" baseline="0">
                <a:solidFill>
                  <a:srgbClr val="C15EFF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82" name="Text Placeholder 11">
            <a:extLst>
              <a:ext uri="{FF2B5EF4-FFF2-40B4-BE49-F238E27FC236}">
                <a16:creationId xmlns:a16="http://schemas.microsoft.com/office/drawing/2014/main" id="{55F75FCF-8D50-44D6-9FD3-CB95B5A4C65D}"/>
              </a:ext>
            </a:extLst>
          </p:cNvPr>
          <p:cNvSpPr>
            <a:spLocks noGrp="1"/>
          </p:cNvSpPr>
          <p:nvPr>
            <p:ph type="body" sz="quarter" idx="131" hasCustomPrompt="1"/>
          </p:nvPr>
        </p:nvSpPr>
        <p:spPr>
          <a:xfrm>
            <a:off x="4584000" y="1320000"/>
            <a:ext cx="2529600" cy="278400"/>
          </a:xfrm>
        </p:spPr>
        <p:txBody>
          <a:bodyPr anchor="ctr" anchorCtr="0">
            <a:noAutofit/>
          </a:bodyPr>
          <a:lstStyle>
            <a:lvl1pPr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Subject title</a:t>
            </a:r>
          </a:p>
        </p:txBody>
      </p:sp>
      <p:sp>
        <p:nvSpPr>
          <p:cNvPr id="183" name="Text Placeholder 11">
            <a:extLst>
              <a:ext uri="{FF2B5EF4-FFF2-40B4-BE49-F238E27FC236}">
                <a16:creationId xmlns:a16="http://schemas.microsoft.com/office/drawing/2014/main" id="{002D017E-F843-474A-8F00-A1FE9472CFCD}"/>
              </a:ext>
            </a:extLst>
          </p:cNvPr>
          <p:cNvSpPr>
            <a:spLocks noGrp="1"/>
          </p:cNvSpPr>
          <p:nvPr>
            <p:ph type="body" sz="quarter" idx="132" hasCustomPrompt="1"/>
          </p:nvPr>
        </p:nvSpPr>
        <p:spPr>
          <a:xfrm>
            <a:off x="7137600" y="1320000"/>
            <a:ext cx="412800" cy="273600"/>
          </a:xfrm>
        </p:spPr>
        <p:txBody>
          <a:bodyPr anchor="t" anchorCtr="0">
            <a:noAutofit/>
          </a:bodyPr>
          <a:lstStyle>
            <a:lvl1pPr algn="r"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95" name="Text Placeholder 13">
            <a:extLst>
              <a:ext uri="{FF2B5EF4-FFF2-40B4-BE49-F238E27FC236}">
                <a16:creationId xmlns:a16="http://schemas.microsoft.com/office/drawing/2014/main" id="{136B5A7D-E39C-4AF6-B794-13BE4DC65CB7}"/>
              </a:ext>
            </a:extLst>
          </p:cNvPr>
          <p:cNvSpPr>
            <a:spLocks noGrp="1"/>
          </p:cNvSpPr>
          <p:nvPr>
            <p:ph type="body" sz="quarter" idx="133" hasCustomPrompt="1"/>
          </p:nvPr>
        </p:nvSpPr>
        <p:spPr>
          <a:xfrm>
            <a:off x="7734800" y="1257600"/>
            <a:ext cx="926400" cy="849600"/>
          </a:xfrm>
        </p:spPr>
        <p:txBody>
          <a:bodyPr anchor="t" anchorCtr="0">
            <a:noAutofit/>
          </a:bodyPr>
          <a:lstStyle>
            <a:lvl1pPr algn="r">
              <a:defRPr sz="4267" spc="0" baseline="0">
                <a:solidFill>
                  <a:srgbClr val="C15EFF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96" name="Text Placeholder 11">
            <a:extLst>
              <a:ext uri="{FF2B5EF4-FFF2-40B4-BE49-F238E27FC236}">
                <a16:creationId xmlns:a16="http://schemas.microsoft.com/office/drawing/2014/main" id="{46CF5F37-BA7A-4F50-B08C-836632764E52}"/>
              </a:ext>
            </a:extLst>
          </p:cNvPr>
          <p:cNvSpPr>
            <a:spLocks noGrp="1"/>
          </p:cNvSpPr>
          <p:nvPr>
            <p:ph type="body" sz="quarter" idx="134" hasCustomPrompt="1"/>
          </p:nvPr>
        </p:nvSpPr>
        <p:spPr>
          <a:xfrm>
            <a:off x="8800400" y="16080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197" name="Text Placeholder 11">
            <a:extLst>
              <a:ext uri="{FF2B5EF4-FFF2-40B4-BE49-F238E27FC236}">
                <a16:creationId xmlns:a16="http://schemas.microsoft.com/office/drawing/2014/main" id="{F4557F8F-5410-4349-B7FE-63320242DCDC}"/>
              </a:ext>
            </a:extLst>
          </p:cNvPr>
          <p:cNvSpPr>
            <a:spLocks noGrp="1"/>
          </p:cNvSpPr>
          <p:nvPr>
            <p:ph type="body" sz="quarter" idx="135" hasCustomPrompt="1"/>
          </p:nvPr>
        </p:nvSpPr>
        <p:spPr>
          <a:xfrm>
            <a:off x="8800400" y="20688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198" name="Text Placeholder 11">
            <a:extLst>
              <a:ext uri="{FF2B5EF4-FFF2-40B4-BE49-F238E27FC236}">
                <a16:creationId xmlns:a16="http://schemas.microsoft.com/office/drawing/2014/main" id="{1603CE92-A27B-46D1-91D5-BC350E2324AE}"/>
              </a:ext>
            </a:extLst>
          </p:cNvPr>
          <p:cNvSpPr>
            <a:spLocks noGrp="1"/>
          </p:cNvSpPr>
          <p:nvPr>
            <p:ph type="body" sz="quarter" idx="136" hasCustomPrompt="1"/>
          </p:nvPr>
        </p:nvSpPr>
        <p:spPr>
          <a:xfrm>
            <a:off x="8800400" y="18384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199" name="Text Placeholder 11">
            <a:extLst>
              <a:ext uri="{FF2B5EF4-FFF2-40B4-BE49-F238E27FC236}">
                <a16:creationId xmlns:a16="http://schemas.microsoft.com/office/drawing/2014/main" id="{1AC1689F-7680-4666-AA85-B25DB8AC4EEC}"/>
              </a:ext>
            </a:extLst>
          </p:cNvPr>
          <p:cNvSpPr>
            <a:spLocks noGrp="1"/>
          </p:cNvSpPr>
          <p:nvPr>
            <p:ph type="body" sz="quarter" idx="137" hasCustomPrompt="1"/>
          </p:nvPr>
        </p:nvSpPr>
        <p:spPr>
          <a:xfrm>
            <a:off x="11354000" y="16080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00" name="Text Placeholder 11">
            <a:extLst>
              <a:ext uri="{FF2B5EF4-FFF2-40B4-BE49-F238E27FC236}">
                <a16:creationId xmlns:a16="http://schemas.microsoft.com/office/drawing/2014/main" id="{6D1AEEBB-8F7D-44C7-87FD-216F815A2A02}"/>
              </a:ext>
            </a:extLst>
          </p:cNvPr>
          <p:cNvSpPr>
            <a:spLocks noGrp="1"/>
          </p:cNvSpPr>
          <p:nvPr>
            <p:ph type="body" sz="quarter" idx="138" hasCustomPrompt="1"/>
          </p:nvPr>
        </p:nvSpPr>
        <p:spPr>
          <a:xfrm>
            <a:off x="11354000" y="20688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01" name="Text Placeholder 11">
            <a:extLst>
              <a:ext uri="{FF2B5EF4-FFF2-40B4-BE49-F238E27FC236}">
                <a16:creationId xmlns:a16="http://schemas.microsoft.com/office/drawing/2014/main" id="{9DC0BCFB-89ED-4228-88FE-C6A8FCE5669C}"/>
              </a:ext>
            </a:extLst>
          </p:cNvPr>
          <p:cNvSpPr>
            <a:spLocks noGrp="1"/>
          </p:cNvSpPr>
          <p:nvPr>
            <p:ph type="body" sz="quarter" idx="139" hasCustomPrompt="1"/>
          </p:nvPr>
        </p:nvSpPr>
        <p:spPr>
          <a:xfrm>
            <a:off x="11354000" y="18384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02" name="Text Placeholder 11">
            <a:extLst>
              <a:ext uri="{FF2B5EF4-FFF2-40B4-BE49-F238E27FC236}">
                <a16:creationId xmlns:a16="http://schemas.microsoft.com/office/drawing/2014/main" id="{9AE691F4-509D-4DB3-B9F6-5EE4EC7BAAE2}"/>
              </a:ext>
            </a:extLst>
          </p:cNvPr>
          <p:cNvSpPr>
            <a:spLocks noGrp="1"/>
          </p:cNvSpPr>
          <p:nvPr>
            <p:ph type="body" sz="quarter" idx="140" hasCustomPrompt="1"/>
          </p:nvPr>
        </p:nvSpPr>
        <p:spPr>
          <a:xfrm>
            <a:off x="8800400" y="1320000"/>
            <a:ext cx="2529600" cy="278400"/>
          </a:xfrm>
        </p:spPr>
        <p:txBody>
          <a:bodyPr anchor="ctr" anchorCtr="0">
            <a:noAutofit/>
          </a:bodyPr>
          <a:lstStyle>
            <a:lvl1pPr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Subject title</a:t>
            </a:r>
          </a:p>
        </p:txBody>
      </p:sp>
      <p:sp>
        <p:nvSpPr>
          <p:cNvPr id="203" name="Text Placeholder 11">
            <a:extLst>
              <a:ext uri="{FF2B5EF4-FFF2-40B4-BE49-F238E27FC236}">
                <a16:creationId xmlns:a16="http://schemas.microsoft.com/office/drawing/2014/main" id="{78D99107-2B22-4C13-A879-D51C293B91AF}"/>
              </a:ext>
            </a:extLst>
          </p:cNvPr>
          <p:cNvSpPr>
            <a:spLocks noGrp="1"/>
          </p:cNvSpPr>
          <p:nvPr>
            <p:ph type="body" sz="quarter" idx="141" hasCustomPrompt="1"/>
          </p:nvPr>
        </p:nvSpPr>
        <p:spPr>
          <a:xfrm>
            <a:off x="11354000" y="1320000"/>
            <a:ext cx="412800" cy="273600"/>
          </a:xfrm>
        </p:spPr>
        <p:txBody>
          <a:bodyPr anchor="t" anchorCtr="0">
            <a:noAutofit/>
          </a:bodyPr>
          <a:lstStyle>
            <a:lvl1pPr algn="r"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05" name="Text Placeholder 11">
            <a:extLst>
              <a:ext uri="{FF2B5EF4-FFF2-40B4-BE49-F238E27FC236}">
                <a16:creationId xmlns:a16="http://schemas.microsoft.com/office/drawing/2014/main" id="{6E3F6195-E96F-4257-B5A3-71A1627C3D01}"/>
              </a:ext>
            </a:extLst>
          </p:cNvPr>
          <p:cNvSpPr>
            <a:spLocks noGrp="1"/>
          </p:cNvSpPr>
          <p:nvPr>
            <p:ph type="body" sz="quarter" idx="143" hasCustomPrompt="1"/>
          </p:nvPr>
        </p:nvSpPr>
        <p:spPr>
          <a:xfrm>
            <a:off x="8800400" y="27888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06" name="Text Placeholder 11">
            <a:extLst>
              <a:ext uri="{FF2B5EF4-FFF2-40B4-BE49-F238E27FC236}">
                <a16:creationId xmlns:a16="http://schemas.microsoft.com/office/drawing/2014/main" id="{693D7ABF-8C1C-48D1-9A19-1F56EA8CEE26}"/>
              </a:ext>
            </a:extLst>
          </p:cNvPr>
          <p:cNvSpPr>
            <a:spLocks noGrp="1"/>
          </p:cNvSpPr>
          <p:nvPr>
            <p:ph type="body" sz="quarter" idx="144" hasCustomPrompt="1"/>
          </p:nvPr>
        </p:nvSpPr>
        <p:spPr>
          <a:xfrm>
            <a:off x="8800400" y="32496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07" name="Text Placeholder 11">
            <a:extLst>
              <a:ext uri="{FF2B5EF4-FFF2-40B4-BE49-F238E27FC236}">
                <a16:creationId xmlns:a16="http://schemas.microsoft.com/office/drawing/2014/main" id="{E43BC384-2614-4BA8-BE5B-FD338EA01FE0}"/>
              </a:ext>
            </a:extLst>
          </p:cNvPr>
          <p:cNvSpPr>
            <a:spLocks noGrp="1"/>
          </p:cNvSpPr>
          <p:nvPr>
            <p:ph type="body" sz="quarter" idx="145" hasCustomPrompt="1"/>
          </p:nvPr>
        </p:nvSpPr>
        <p:spPr>
          <a:xfrm>
            <a:off x="8800400" y="30192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08" name="Text Placeholder 11">
            <a:extLst>
              <a:ext uri="{FF2B5EF4-FFF2-40B4-BE49-F238E27FC236}">
                <a16:creationId xmlns:a16="http://schemas.microsoft.com/office/drawing/2014/main" id="{8802BFF0-0C42-4981-B310-D11CD7694C5C}"/>
              </a:ext>
            </a:extLst>
          </p:cNvPr>
          <p:cNvSpPr>
            <a:spLocks noGrp="1"/>
          </p:cNvSpPr>
          <p:nvPr>
            <p:ph type="body" sz="quarter" idx="146" hasCustomPrompt="1"/>
          </p:nvPr>
        </p:nvSpPr>
        <p:spPr>
          <a:xfrm>
            <a:off x="11354000" y="27888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09" name="Text Placeholder 11">
            <a:extLst>
              <a:ext uri="{FF2B5EF4-FFF2-40B4-BE49-F238E27FC236}">
                <a16:creationId xmlns:a16="http://schemas.microsoft.com/office/drawing/2014/main" id="{B5DA4374-FEBC-47D2-848B-BD35233F5FEF}"/>
              </a:ext>
            </a:extLst>
          </p:cNvPr>
          <p:cNvSpPr>
            <a:spLocks noGrp="1"/>
          </p:cNvSpPr>
          <p:nvPr>
            <p:ph type="body" sz="quarter" idx="147" hasCustomPrompt="1"/>
          </p:nvPr>
        </p:nvSpPr>
        <p:spPr>
          <a:xfrm>
            <a:off x="11354000" y="32496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10" name="Text Placeholder 11">
            <a:extLst>
              <a:ext uri="{FF2B5EF4-FFF2-40B4-BE49-F238E27FC236}">
                <a16:creationId xmlns:a16="http://schemas.microsoft.com/office/drawing/2014/main" id="{13DE8CDC-95CC-4BFF-A06E-32A5883490B0}"/>
              </a:ext>
            </a:extLst>
          </p:cNvPr>
          <p:cNvSpPr>
            <a:spLocks noGrp="1"/>
          </p:cNvSpPr>
          <p:nvPr>
            <p:ph type="body" sz="quarter" idx="148" hasCustomPrompt="1"/>
          </p:nvPr>
        </p:nvSpPr>
        <p:spPr>
          <a:xfrm>
            <a:off x="11354000" y="30192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11" name="Text Placeholder 11">
            <a:extLst>
              <a:ext uri="{FF2B5EF4-FFF2-40B4-BE49-F238E27FC236}">
                <a16:creationId xmlns:a16="http://schemas.microsoft.com/office/drawing/2014/main" id="{5D2213E3-F451-4DAD-BF06-48CFB1145280}"/>
              </a:ext>
            </a:extLst>
          </p:cNvPr>
          <p:cNvSpPr>
            <a:spLocks noGrp="1"/>
          </p:cNvSpPr>
          <p:nvPr>
            <p:ph type="body" sz="quarter" idx="149" hasCustomPrompt="1"/>
          </p:nvPr>
        </p:nvSpPr>
        <p:spPr>
          <a:xfrm>
            <a:off x="8800400" y="2500800"/>
            <a:ext cx="2529600" cy="278400"/>
          </a:xfrm>
        </p:spPr>
        <p:txBody>
          <a:bodyPr anchor="ctr" anchorCtr="0">
            <a:noAutofit/>
          </a:bodyPr>
          <a:lstStyle>
            <a:lvl1pPr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Subject title</a:t>
            </a:r>
          </a:p>
        </p:txBody>
      </p:sp>
      <p:sp>
        <p:nvSpPr>
          <p:cNvPr id="212" name="Text Placeholder 11">
            <a:extLst>
              <a:ext uri="{FF2B5EF4-FFF2-40B4-BE49-F238E27FC236}">
                <a16:creationId xmlns:a16="http://schemas.microsoft.com/office/drawing/2014/main" id="{8A928A0D-F470-42B2-B53B-3D19D33D76C4}"/>
              </a:ext>
            </a:extLst>
          </p:cNvPr>
          <p:cNvSpPr>
            <a:spLocks noGrp="1"/>
          </p:cNvSpPr>
          <p:nvPr>
            <p:ph type="body" sz="quarter" idx="150" hasCustomPrompt="1"/>
          </p:nvPr>
        </p:nvSpPr>
        <p:spPr>
          <a:xfrm>
            <a:off x="11354000" y="2500800"/>
            <a:ext cx="412800" cy="273600"/>
          </a:xfrm>
        </p:spPr>
        <p:txBody>
          <a:bodyPr anchor="t" anchorCtr="0">
            <a:noAutofit/>
          </a:bodyPr>
          <a:lstStyle>
            <a:lvl1pPr algn="r"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14" name="Text Placeholder 11">
            <a:extLst>
              <a:ext uri="{FF2B5EF4-FFF2-40B4-BE49-F238E27FC236}">
                <a16:creationId xmlns:a16="http://schemas.microsoft.com/office/drawing/2014/main" id="{7A010876-1E6B-43B4-971E-53E187564DBA}"/>
              </a:ext>
            </a:extLst>
          </p:cNvPr>
          <p:cNvSpPr>
            <a:spLocks noGrp="1"/>
          </p:cNvSpPr>
          <p:nvPr>
            <p:ph type="body" sz="quarter" idx="152" hasCustomPrompt="1"/>
          </p:nvPr>
        </p:nvSpPr>
        <p:spPr>
          <a:xfrm>
            <a:off x="4584000" y="27888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15" name="Text Placeholder 11">
            <a:extLst>
              <a:ext uri="{FF2B5EF4-FFF2-40B4-BE49-F238E27FC236}">
                <a16:creationId xmlns:a16="http://schemas.microsoft.com/office/drawing/2014/main" id="{E2A44838-39BA-431E-90AE-0E331200F980}"/>
              </a:ext>
            </a:extLst>
          </p:cNvPr>
          <p:cNvSpPr>
            <a:spLocks noGrp="1"/>
          </p:cNvSpPr>
          <p:nvPr>
            <p:ph type="body" sz="quarter" idx="153" hasCustomPrompt="1"/>
          </p:nvPr>
        </p:nvSpPr>
        <p:spPr>
          <a:xfrm>
            <a:off x="4584000" y="32496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16" name="Text Placeholder 11">
            <a:extLst>
              <a:ext uri="{FF2B5EF4-FFF2-40B4-BE49-F238E27FC236}">
                <a16:creationId xmlns:a16="http://schemas.microsoft.com/office/drawing/2014/main" id="{3AA3CD39-1402-4270-8890-0E33FC9F5FAA}"/>
              </a:ext>
            </a:extLst>
          </p:cNvPr>
          <p:cNvSpPr>
            <a:spLocks noGrp="1"/>
          </p:cNvSpPr>
          <p:nvPr>
            <p:ph type="body" sz="quarter" idx="154" hasCustomPrompt="1"/>
          </p:nvPr>
        </p:nvSpPr>
        <p:spPr>
          <a:xfrm>
            <a:off x="4584000" y="30192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17" name="Text Placeholder 11">
            <a:extLst>
              <a:ext uri="{FF2B5EF4-FFF2-40B4-BE49-F238E27FC236}">
                <a16:creationId xmlns:a16="http://schemas.microsoft.com/office/drawing/2014/main" id="{077AEBFE-FC17-4D68-9DDF-57A2645FA65B}"/>
              </a:ext>
            </a:extLst>
          </p:cNvPr>
          <p:cNvSpPr>
            <a:spLocks noGrp="1"/>
          </p:cNvSpPr>
          <p:nvPr>
            <p:ph type="body" sz="quarter" idx="155" hasCustomPrompt="1"/>
          </p:nvPr>
        </p:nvSpPr>
        <p:spPr>
          <a:xfrm>
            <a:off x="7137600" y="27888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18" name="Text Placeholder 11">
            <a:extLst>
              <a:ext uri="{FF2B5EF4-FFF2-40B4-BE49-F238E27FC236}">
                <a16:creationId xmlns:a16="http://schemas.microsoft.com/office/drawing/2014/main" id="{B35F3DB5-C1F0-4B9F-A0EB-A11164105A5E}"/>
              </a:ext>
            </a:extLst>
          </p:cNvPr>
          <p:cNvSpPr>
            <a:spLocks noGrp="1"/>
          </p:cNvSpPr>
          <p:nvPr>
            <p:ph type="body" sz="quarter" idx="156" hasCustomPrompt="1"/>
          </p:nvPr>
        </p:nvSpPr>
        <p:spPr>
          <a:xfrm>
            <a:off x="7137600" y="32496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19" name="Text Placeholder 11">
            <a:extLst>
              <a:ext uri="{FF2B5EF4-FFF2-40B4-BE49-F238E27FC236}">
                <a16:creationId xmlns:a16="http://schemas.microsoft.com/office/drawing/2014/main" id="{A8FCBE80-4A90-4B30-8253-934B693F77A6}"/>
              </a:ext>
            </a:extLst>
          </p:cNvPr>
          <p:cNvSpPr>
            <a:spLocks noGrp="1"/>
          </p:cNvSpPr>
          <p:nvPr>
            <p:ph type="body" sz="quarter" idx="157" hasCustomPrompt="1"/>
          </p:nvPr>
        </p:nvSpPr>
        <p:spPr>
          <a:xfrm>
            <a:off x="7137600" y="30192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20" name="Text Placeholder 11">
            <a:extLst>
              <a:ext uri="{FF2B5EF4-FFF2-40B4-BE49-F238E27FC236}">
                <a16:creationId xmlns:a16="http://schemas.microsoft.com/office/drawing/2014/main" id="{339FED6D-7FF5-4352-B20C-4A77FBA90D00}"/>
              </a:ext>
            </a:extLst>
          </p:cNvPr>
          <p:cNvSpPr>
            <a:spLocks noGrp="1"/>
          </p:cNvSpPr>
          <p:nvPr>
            <p:ph type="body" sz="quarter" idx="158" hasCustomPrompt="1"/>
          </p:nvPr>
        </p:nvSpPr>
        <p:spPr>
          <a:xfrm>
            <a:off x="4584000" y="2500800"/>
            <a:ext cx="2529600" cy="278400"/>
          </a:xfrm>
        </p:spPr>
        <p:txBody>
          <a:bodyPr anchor="ctr" anchorCtr="0">
            <a:noAutofit/>
          </a:bodyPr>
          <a:lstStyle>
            <a:lvl1pPr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Subject title</a:t>
            </a:r>
          </a:p>
        </p:txBody>
      </p:sp>
      <p:sp>
        <p:nvSpPr>
          <p:cNvPr id="221" name="Text Placeholder 11">
            <a:extLst>
              <a:ext uri="{FF2B5EF4-FFF2-40B4-BE49-F238E27FC236}">
                <a16:creationId xmlns:a16="http://schemas.microsoft.com/office/drawing/2014/main" id="{81BFDFC7-C8E1-45BB-A814-2421868AF385}"/>
              </a:ext>
            </a:extLst>
          </p:cNvPr>
          <p:cNvSpPr>
            <a:spLocks noGrp="1"/>
          </p:cNvSpPr>
          <p:nvPr>
            <p:ph type="body" sz="quarter" idx="159" hasCustomPrompt="1"/>
          </p:nvPr>
        </p:nvSpPr>
        <p:spPr>
          <a:xfrm>
            <a:off x="7137600" y="2500800"/>
            <a:ext cx="412800" cy="273600"/>
          </a:xfrm>
        </p:spPr>
        <p:txBody>
          <a:bodyPr anchor="t" anchorCtr="0">
            <a:noAutofit/>
          </a:bodyPr>
          <a:lstStyle>
            <a:lvl1pPr algn="r"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23" name="Text Placeholder 11">
            <a:extLst>
              <a:ext uri="{FF2B5EF4-FFF2-40B4-BE49-F238E27FC236}">
                <a16:creationId xmlns:a16="http://schemas.microsoft.com/office/drawing/2014/main" id="{77A56D37-0D7B-424B-98ED-373EDFE7E297}"/>
              </a:ext>
            </a:extLst>
          </p:cNvPr>
          <p:cNvSpPr>
            <a:spLocks noGrp="1"/>
          </p:cNvSpPr>
          <p:nvPr>
            <p:ph type="body" sz="quarter" idx="161" hasCustomPrompt="1"/>
          </p:nvPr>
        </p:nvSpPr>
        <p:spPr>
          <a:xfrm>
            <a:off x="4584000" y="39696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24" name="Text Placeholder 11">
            <a:extLst>
              <a:ext uri="{FF2B5EF4-FFF2-40B4-BE49-F238E27FC236}">
                <a16:creationId xmlns:a16="http://schemas.microsoft.com/office/drawing/2014/main" id="{EA1DE5F6-AD75-4FCB-BDCC-A27A9B5F2F06}"/>
              </a:ext>
            </a:extLst>
          </p:cNvPr>
          <p:cNvSpPr>
            <a:spLocks noGrp="1"/>
          </p:cNvSpPr>
          <p:nvPr>
            <p:ph type="body" sz="quarter" idx="162" hasCustomPrompt="1"/>
          </p:nvPr>
        </p:nvSpPr>
        <p:spPr>
          <a:xfrm>
            <a:off x="4584000" y="44304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25" name="Text Placeholder 11">
            <a:extLst>
              <a:ext uri="{FF2B5EF4-FFF2-40B4-BE49-F238E27FC236}">
                <a16:creationId xmlns:a16="http://schemas.microsoft.com/office/drawing/2014/main" id="{E88B79A7-F858-4E58-BBDD-B529D45EADB8}"/>
              </a:ext>
            </a:extLst>
          </p:cNvPr>
          <p:cNvSpPr>
            <a:spLocks noGrp="1"/>
          </p:cNvSpPr>
          <p:nvPr>
            <p:ph type="body" sz="quarter" idx="163" hasCustomPrompt="1"/>
          </p:nvPr>
        </p:nvSpPr>
        <p:spPr>
          <a:xfrm>
            <a:off x="4584000" y="42000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26" name="Text Placeholder 11">
            <a:extLst>
              <a:ext uri="{FF2B5EF4-FFF2-40B4-BE49-F238E27FC236}">
                <a16:creationId xmlns:a16="http://schemas.microsoft.com/office/drawing/2014/main" id="{351A1A2C-4FE4-4442-9F64-D7E81C877F03}"/>
              </a:ext>
            </a:extLst>
          </p:cNvPr>
          <p:cNvSpPr>
            <a:spLocks noGrp="1"/>
          </p:cNvSpPr>
          <p:nvPr>
            <p:ph type="body" sz="quarter" idx="164" hasCustomPrompt="1"/>
          </p:nvPr>
        </p:nvSpPr>
        <p:spPr>
          <a:xfrm>
            <a:off x="7137600" y="39696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27" name="Text Placeholder 11">
            <a:extLst>
              <a:ext uri="{FF2B5EF4-FFF2-40B4-BE49-F238E27FC236}">
                <a16:creationId xmlns:a16="http://schemas.microsoft.com/office/drawing/2014/main" id="{9C05EA04-ECAC-4B8B-A27E-457E84FD6D6E}"/>
              </a:ext>
            </a:extLst>
          </p:cNvPr>
          <p:cNvSpPr>
            <a:spLocks noGrp="1"/>
          </p:cNvSpPr>
          <p:nvPr>
            <p:ph type="body" sz="quarter" idx="165" hasCustomPrompt="1"/>
          </p:nvPr>
        </p:nvSpPr>
        <p:spPr>
          <a:xfrm>
            <a:off x="7137600" y="44304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28" name="Text Placeholder 11">
            <a:extLst>
              <a:ext uri="{FF2B5EF4-FFF2-40B4-BE49-F238E27FC236}">
                <a16:creationId xmlns:a16="http://schemas.microsoft.com/office/drawing/2014/main" id="{930D3582-7E06-45F3-A006-DE339000094C}"/>
              </a:ext>
            </a:extLst>
          </p:cNvPr>
          <p:cNvSpPr>
            <a:spLocks noGrp="1"/>
          </p:cNvSpPr>
          <p:nvPr>
            <p:ph type="body" sz="quarter" idx="166" hasCustomPrompt="1"/>
          </p:nvPr>
        </p:nvSpPr>
        <p:spPr>
          <a:xfrm>
            <a:off x="7137600" y="42000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29" name="Text Placeholder 11">
            <a:extLst>
              <a:ext uri="{FF2B5EF4-FFF2-40B4-BE49-F238E27FC236}">
                <a16:creationId xmlns:a16="http://schemas.microsoft.com/office/drawing/2014/main" id="{363B46EF-AB6F-491F-8267-9DF1DFEE92BB}"/>
              </a:ext>
            </a:extLst>
          </p:cNvPr>
          <p:cNvSpPr>
            <a:spLocks noGrp="1"/>
          </p:cNvSpPr>
          <p:nvPr>
            <p:ph type="body" sz="quarter" idx="167" hasCustomPrompt="1"/>
          </p:nvPr>
        </p:nvSpPr>
        <p:spPr>
          <a:xfrm>
            <a:off x="4584000" y="3681600"/>
            <a:ext cx="2529600" cy="278400"/>
          </a:xfrm>
        </p:spPr>
        <p:txBody>
          <a:bodyPr anchor="ctr" anchorCtr="0">
            <a:noAutofit/>
          </a:bodyPr>
          <a:lstStyle>
            <a:lvl1pPr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Subject title</a:t>
            </a:r>
          </a:p>
        </p:txBody>
      </p:sp>
      <p:sp>
        <p:nvSpPr>
          <p:cNvPr id="230" name="Text Placeholder 11">
            <a:extLst>
              <a:ext uri="{FF2B5EF4-FFF2-40B4-BE49-F238E27FC236}">
                <a16:creationId xmlns:a16="http://schemas.microsoft.com/office/drawing/2014/main" id="{B34D86FE-580B-4602-876C-F706834124BB}"/>
              </a:ext>
            </a:extLst>
          </p:cNvPr>
          <p:cNvSpPr>
            <a:spLocks noGrp="1"/>
          </p:cNvSpPr>
          <p:nvPr>
            <p:ph type="body" sz="quarter" idx="168" hasCustomPrompt="1"/>
          </p:nvPr>
        </p:nvSpPr>
        <p:spPr>
          <a:xfrm>
            <a:off x="7137600" y="3681600"/>
            <a:ext cx="412800" cy="273600"/>
          </a:xfrm>
        </p:spPr>
        <p:txBody>
          <a:bodyPr anchor="t" anchorCtr="0">
            <a:noAutofit/>
          </a:bodyPr>
          <a:lstStyle>
            <a:lvl1pPr algn="r"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2" name="Text Placeholder 11">
            <a:extLst>
              <a:ext uri="{FF2B5EF4-FFF2-40B4-BE49-F238E27FC236}">
                <a16:creationId xmlns:a16="http://schemas.microsoft.com/office/drawing/2014/main" id="{3552503A-2F02-45C5-AE23-2D9BBF946D5F}"/>
              </a:ext>
            </a:extLst>
          </p:cNvPr>
          <p:cNvSpPr>
            <a:spLocks noGrp="1"/>
          </p:cNvSpPr>
          <p:nvPr>
            <p:ph type="body" sz="quarter" idx="170" hasCustomPrompt="1"/>
          </p:nvPr>
        </p:nvSpPr>
        <p:spPr>
          <a:xfrm>
            <a:off x="4584000" y="51504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33" name="Text Placeholder 11">
            <a:extLst>
              <a:ext uri="{FF2B5EF4-FFF2-40B4-BE49-F238E27FC236}">
                <a16:creationId xmlns:a16="http://schemas.microsoft.com/office/drawing/2014/main" id="{1BBABD89-E84E-4DA9-9DA7-BEFE952EB2B1}"/>
              </a:ext>
            </a:extLst>
          </p:cNvPr>
          <p:cNvSpPr>
            <a:spLocks noGrp="1"/>
          </p:cNvSpPr>
          <p:nvPr>
            <p:ph type="body" sz="quarter" idx="171" hasCustomPrompt="1"/>
          </p:nvPr>
        </p:nvSpPr>
        <p:spPr>
          <a:xfrm>
            <a:off x="4584000" y="56112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34" name="Text Placeholder 11">
            <a:extLst>
              <a:ext uri="{FF2B5EF4-FFF2-40B4-BE49-F238E27FC236}">
                <a16:creationId xmlns:a16="http://schemas.microsoft.com/office/drawing/2014/main" id="{5BE1FF73-C6FA-430D-8266-77C2DB82209E}"/>
              </a:ext>
            </a:extLst>
          </p:cNvPr>
          <p:cNvSpPr>
            <a:spLocks noGrp="1"/>
          </p:cNvSpPr>
          <p:nvPr>
            <p:ph type="body" sz="quarter" idx="172" hasCustomPrompt="1"/>
          </p:nvPr>
        </p:nvSpPr>
        <p:spPr>
          <a:xfrm>
            <a:off x="4584000" y="53808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35" name="Text Placeholder 11">
            <a:extLst>
              <a:ext uri="{FF2B5EF4-FFF2-40B4-BE49-F238E27FC236}">
                <a16:creationId xmlns:a16="http://schemas.microsoft.com/office/drawing/2014/main" id="{FFDDE7F6-2594-4C0E-9CFB-F1FDD0F9409E}"/>
              </a:ext>
            </a:extLst>
          </p:cNvPr>
          <p:cNvSpPr>
            <a:spLocks noGrp="1"/>
          </p:cNvSpPr>
          <p:nvPr>
            <p:ph type="body" sz="quarter" idx="173" hasCustomPrompt="1"/>
          </p:nvPr>
        </p:nvSpPr>
        <p:spPr>
          <a:xfrm>
            <a:off x="7137600" y="51504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6" name="Text Placeholder 11">
            <a:extLst>
              <a:ext uri="{FF2B5EF4-FFF2-40B4-BE49-F238E27FC236}">
                <a16:creationId xmlns:a16="http://schemas.microsoft.com/office/drawing/2014/main" id="{1B6B0FB9-7A74-4E6F-ADE5-EFBE5926602B}"/>
              </a:ext>
            </a:extLst>
          </p:cNvPr>
          <p:cNvSpPr>
            <a:spLocks noGrp="1"/>
          </p:cNvSpPr>
          <p:nvPr>
            <p:ph type="body" sz="quarter" idx="174" hasCustomPrompt="1"/>
          </p:nvPr>
        </p:nvSpPr>
        <p:spPr>
          <a:xfrm>
            <a:off x="7137600" y="56112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7" name="Text Placeholder 11">
            <a:extLst>
              <a:ext uri="{FF2B5EF4-FFF2-40B4-BE49-F238E27FC236}">
                <a16:creationId xmlns:a16="http://schemas.microsoft.com/office/drawing/2014/main" id="{1E5227E1-8B4D-45DB-89FD-9AA6C1114BCE}"/>
              </a:ext>
            </a:extLst>
          </p:cNvPr>
          <p:cNvSpPr>
            <a:spLocks noGrp="1"/>
          </p:cNvSpPr>
          <p:nvPr>
            <p:ph type="body" sz="quarter" idx="175" hasCustomPrompt="1"/>
          </p:nvPr>
        </p:nvSpPr>
        <p:spPr>
          <a:xfrm>
            <a:off x="7137600" y="53808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8" name="Text Placeholder 11">
            <a:extLst>
              <a:ext uri="{FF2B5EF4-FFF2-40B4-BE49-F238E27FC236}">
                <a16:creationId xmlns:a16="http://schemas.microsoft.com/office/drawing/2014/main" id="{B798577F-DF6F-45C1-AE7D-43C282300212}"/>
              </a:ext>
            </a:extLst>
          </p:cNvPr>
          <p:cNvSpPr>
            <a:spLocks noGrp="1"/>
          </p:cNvSpPr>
          <p:nvPr>
            <p:ph type="body" sz="quarter" idx="176" hasCustomPrompt="1"/>
          </p:nvPr>
        </p:nvSpPr>
        <p:spPr>
          <a:xfrm>
            <a:off x="4584000" y="4862400"/>
            <a:ext cx="2529600" cy="278400"/>
          </a:xfrm>
        </p:spPr>
        <p:txBody>
          <a:bodyPr anchor="ctr" anchorCtr="0">
            <a:noAutofit/>
          </a:bodyPr>
          <a:lstStyle>
            <a:lvl1pPr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Subject title</a:t>
            </a:r>
          </a:p>
        </p:txBody>
      </p:sp>
      <p:sp>
        <p:nvSpPr>
          <p:cNvPr id="239" name="Text Placeholder 11">
            <a:extLst>
              <a:ext uri="{FF2B5EF4-FFF2-40B4-BE49-F238E27FC236}">
                <a16:creationId xmlns:a16="http://schemas.microsoft.com/office/drawing/2014/main" id="{9BB67A01-B3F6-4236-8002-731047454187}"/>
              </a:ext>
            </a:extLst>
          </p:cNvPr>
          <p:cNvSpPr>
            <a:spLocks noGrp="1"/>
          </p:cNvSpPr>
          <p:nvPr>
            <p:ph type="body" sz="quarter" idx="177" hasCustomPrompt="1"/>
          </p:nvPr>
        </p:nvSpPr>
        <p:spPr>
          <a:xfrm>
            <a:off x="7137600" y="4862400"/>
            <a:ext cx="412800" cy="273600"/>
          </a:xfrm>
        </p:spPr>
        <p:txBody>
          <a:bodyPr anchor="t" anchorCtr="0">
            <a:noAutofit/>
          </a:bodyPr>
          <a:lstStyle>
            <a:lvl1pPr algn="r"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41" name="Text Placeholder 11">
            <a:extLst>
              <a:ext uri="{FF2B5EF4-FFF2-40B4-BE49-F238E27FC236}">
                <a16:creationId xmlns:a16="http://schemas.microsoft.com/office/drawing/2014/main" id="{1492D783-9E97-4E03-9E1F-862CE8968230}"/>
              </a:ext>
            </a:extLst>
          </p:cNvPr>
          <p:cNvSpPr>
            <a:spLocks noGrp="1"/>
          </p:cNvSpPr>
          <p:nvPr>
            <p:ph type="body" sz="quarter" idx="179" hasCustomPrompt="1"/>
          </p:nvPr>
        </p:nvSpPr>
        <p:spPr>
          <a:xfrm>
            <a:off x="8800400" y="39696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42" name="Text Placeholder 11">
            <a:extLst>
              <a:ext uri="{FF2B5EF4-FFF2-40B4-BE49-F238E27FC236}">
                <a16:creationId xmlns:a16="http://schemas.microsoft.com/office/drawing/2014/main" id="{BB8972E7-31D4-453D-8A40-EDE547C4AB0D}"/>
              </a:ext>
            </a:extLst>
          </p:cNvPr>
          <p:cNvSpPr>
            <a:spLocks noGrp="1"/>
          </p:cNvSpPr>
          <p:nvPr>
            <p:ph type="body" sz="quarter" idx="180" hasCustomPrompt="1"/>
          </p:nvPr>
        </p:nvSpPr>
        <p:spPr>
          <a:xfrm>
            <a:off x="8800400" y="44304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43" name="Text Placeholder 11">
            <a:extLst>
              <a:ext uri="{FF2B5EF4-FFF2-40B4-BE49-F238E27FC236}">
                <a16:creationId xmlns:a16="http://schemas.microsoft.com/office/drawing/2014/main" id="{BBA96762-43C4-435D-96A7-28C137D94316}"/>
              </a:ext>
            </a:extLst>
          </p:cNvPr>
          <p:cNvSpPr>
            <a:spLocks noGrp="1"/>
          </p:cNvSpPr>
          <p:nvPr>
            <p:ph type="body" sz="quarter" idx="181" hasCustomPrompt="1"/>
          </p:nvPr>
        </p:nvSpPr>
        <p:spPr>
          <a:xfrm>
            <a:off x="8800400" y="42000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44" name="Text Placeholder 11">
            <a:extLst>
              <a:ext uri="{FF2B5EF4-FFF2-40B4-BE49-F238E27FC236}">
                <a16:creationId xmlns:a16="http://schemas.microsoft.com/office/drawing/2014/main" id="{FD2CA5C5-73D5-4439-8106-2E28A81726B5}"/>
              </a:ext>
            </a:extLst>
          </p:cNvPr>
          <p:cNvSpPr>
            <a:spLocks noGrp="1"/>
          </p:cNvSpPr>
          <p:nvPr>
            <p:ph type="body" sz="quarter" idx="182" hasCustomPrompt="1"/>
          </p:nvPr>
        </p:nvSpPr>
        <p:spPr>
          <a:xfrm>
            <a:off x="11354000" y="39696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45" name="Text Placeholder 11">
            <a:extLst>
              <a:ext uri="{FF2B5EF4-FFF2-40B4-BE49-F238E27FC236}">
                <a16:creationId xmlns:a16="http://schemas.microsoft.com/office/drawing/2014/main" id="{97D77352-2A3D-4721-AEAE-0F68534DD722}"/>
              </a:ext>
            </a:extLst>
          </p:cNvPr>
          <p:cNvSpPr>
            <a:spLocks noGrp="1"/>
          </p:cNvSpPr>
          <p:nvPr>
            <p:ph type="body" sz="quarter" idx="183" hasCustomPrompt="1"/>
          </p:nvPr>
        </p:nvSpPr>
        <p:spPr>
          <a:xfrm>
            <a:off x="11354000" y="44304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46" name="Text Placeholder 11">
            <a:extLst>
              <a:ext uri="{FF2B5EF4-FFF2-40B4-BE49-F238E27FC236}">
                <a16:creationId xmlns:a16="http://schemas.microsoft.com/office/drawing/2014/main" id="{CEBB0834-0C14-4119-9A7F-3927D11AED7E}"/>
              </a:ext>
            </a:extLst>
          </p:cNvPr>
          <p:cNvSpPr>
            <a:spLocks noGrp="1"/>
          </p:cNvSpPr>
          <p:nvPr>
            <p:ph type="body" sz="quarter" idx="184" hasCustomPrompt="1"/>
          </p:nvPr>
        </p:nvSpPr>
        <p:spPr>
          <a:xfrm>
            <a:off x="11354000" y="42000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47" name="Text Placeholder 11">
            <a:extLst>
              <a:ext uri="{FF2B5EF4-FFF2-40B4-BE49-F238E27FC236}">
                <a16:creationId xmlns:a16="http://schemas.microsoft.com/office/drawing/2014/main" id="{56F332A4-A947-419F-8614-97ACCADA423C}"/>
              </a:ext>
            </a:extLst>
          </p:cNvPr>
          <p:cNvSpPr>
            <a:spLocks noGrp="1"/>
          </p:cNvSpPr>
          <p:nvPr>
            <p:ph type="body" sz="quarter" idx="185" hasCustomPrompt="1"/>
          </p:nvPr>
        </p:nvSpPr>
        <p:spPr>
          <a:xfrm>
            <a:off x="8800400" y="3681600"/>
            <a:ext cx="2529600" cy="278400"/>
          </a:xfrm>
        </p:spPr>
        <p:txBody>
          <a:bodyPr anchor="ctr" anchorCtr="0">
            <a:noAutofit/>
          </a:bodyPr>
          <a:lstStyle>
            <a:lvl1pPr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Subject title</a:t>
            </a:r>
          </a:p>
        </p:txBody>
      </p:sp>
      <p:sp>
        <p:nvSpPr>
          <p:cNvPr id="248" name="Text Placeholder 11">
            <a:extLst>
              <a:ext uri="{FF2B5EF4-FFF2-40B4-BE49-F238E27FC236}">
                <a16:creationId xmlns:a16="http://schemas.microsoft.com/office/drawing/2014/main" id="{F00163B6-759B-47A6-A776-B487957C91FE}"/>
              </a:ext>
            </a:extLst>
          </p:cNvPr>
          <p:cNvSpPr>
            <a:spLocks noGrp="1"/>
          </p:cNvSpPr>
          <p:nvPr>
            <p:ph type="body" sz="quarter" idx="186" hasCustomPrompt="1"/>
          </p:nvPr>
        </p:nvSpPr>
        <p:spPr>
          <a:xfrm>
            <a:off x="11354000" y="3681600"/>
            <a:ext cx="412800" cy="273600"/>
          </a:xfrm>
        </p:spPr>
        <p:txBody>
          <a:bodyPr anchor="t" anchorCtr="0">
            <a:noAutofit/>
          </a:bodyPr>
          <a:lstStyle>
            <a:lvl1pPr algn="r"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4D42BF0D-C62B-4E93-9523-C8E2DD98367C}"/>
              </a:ext>
            </a:extLst>
          </p:cNvPr>
          <p:cNvGrpSpPr/>
          <p:nvPr userDrawn="1"/>
        </p:nvGrpSpPr>
        <p:grpSpPr>
          <a:xfrm>
            <a:off x="431801" y="311150"/>
            <a:ext cx="428348" cy="696421"/>
            <a:chOff x="-3513606" y="270529"/>
            <a:chExt cx="1671638" cy="2717801"/>
          </a:xfrm>
        </p:grpSpPr>
        <p:sp>
          <p:nvSpPr>
            <p:cNvPr id="75" name="Freeform 5">
              <a:extLst>
                <a:ext uri="{FF2B5EF4-FFF2-40B4-BE49-F238E27FC236}">
                  <a16:creationId xmlns:a16="http://schemas.microsoft.com/office/drawing/2014/main" id="{6DB8D7D7-9000-4DFC-8E2B-B25346247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Freeform 6">
              <a:extLst>
                <a:ext uri="{FF2B5EF4-FFF2-40B4-BE49-F238E27FC236}">
                  <a16:creationId xmlns:a16="http://schemas.microsoft.com/office/drawing/2014/main" id="{2D875534-3349-41F0-8262-D3A9FBB445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Freeform 7">
              <a:extLst>
                <a:ext uri="{FF2B5EF4-FFF2-40B4-BE49-F238E27FC236}">
                  <a16:creationId xmlns:a16="http://schemas.microsoft.com/office/drawing/2014/main" id="{849F985C-220C-4BAC-9BDF-BC52E26E24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951121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1329576"/>
            <a:ext cx="2380800" cy="1161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95F06A-3427-4B06-BF82-5C0567457A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48000" y="2572800"/>
            <a:ext cx="8112000" cy="3441600"/>
          </a:xfrm>
        </p:spPr>
        <p:txBody>
          <a:bodyPr anchor="t"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AE5762-D727-4BC9-A55B-12A06051E1C4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1ECB9FE6-468A-4395-B06E-AAB35682B6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822400"/>
          </a:xfrm>
        </p:spPr>
        <p:txBody>
          <a:bodyPr anchor="t" anchorCtr="0">
            <a:no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FA0F6CE-FAD1-40C2-AE11-F78D23D71B0A}"/>
              </a:ext>
            </a:extLst>
          </p:cNvPr>
          <p:cNvSpPr>
            <a:spLocks noGrp="1"/>
          </p:cNvSpPr>
          <p:nvPr>
            <p:ph type="body" sz="quarter" idx="131"/>
          </p:nvPr>
        </p:nvSpPr>
        <p:spPr>
          <a:xfrm>
            <a:off x="3648000" y="1315200"/>
            <a:ext cx="8112000" cy="1161600"/>
          </a:xfrm>
        </p:spPr>
        <p:txBody>
          <a:bodyPr anchor="t" anchorCtr="0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385163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30247941-1B8F-4DB8-8745-14214DE043EF}"/>
              </a:ext>
            </a:extLst>
          </p:cNvPr>
          <p:cNvSpPr>
            <a:spLocks noGrp="1"/>
          </p:cNvSpPr>
          <p:nvPr>
            <p:ph type="chart" sz="quarter" idx="36"/>
          </p:nvPr>
        </p:nvSpPr>
        <p:spPr>
          <a:xfrm>
            <a:off x="3648000" y="1329577"/>
            <a:ext cx="8112200" cy="4683875"/>
          </a:xfrm>
        </p:spPr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1329576"/>
            <a:ext cx="2380800" cy="1161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82C968-1CAF-4026-B1D7-805B73CB3E7D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4860788F-2A03-494E-8103-991B1DA1839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822400"/>
          </a:xfrm>
        </p:spPr>
        <p:txBody>
          <a:bodyPr anchor="t" anchorCtr="0">
            <a:no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200F77A-3CB7-4DF4-B500-8AFFEBB9316E}"/>
              </a:ext>
            </a:extLst>
          </p:cNvPr>
          <p:cNvSpPr>
            <a:spLocks noGrp="1"/>
          </p:cNvSpPr>
          <p:nvPr>
            <p:ph type="body" sz="quarter" idx="131"/>
          </p:nvPr>
        </p:nvSpPr>
        <p:spPr>
          <a:xfrm>
            <a:off x="3648000" y="288000"/>
            <a:ext cx="8112000" cy="652800"/>
          </a:xfrm>
        </p:spPr>
        <p:txBody>
          <a:bodyPr anchor="t" anchorCtr="0">
            <a:noAutofit/>
          </a:bodyPr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04421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1329576"/>
            <a:ext cx="2380800" cy="1161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95F06A-3427-4B06-BF82-5C0567457A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48000" y="1329576"/>
            <a:ext cx="8112000" cy="4684824"/>
          </a:xfrm>
        </p:spPr>
        <p:txBody>
          <a:bodyPr anchor="t"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958AB2-47E7-4C04-B2A1-9F0CFADF1E69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239CD9D4-A97C-4319-8DEE-753B525F9CE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822400"/>
          </a:xfrm>
        </p:spPr>
        <p:txBody>
          <a:bodyPr anchor="t" anchorCtr="0">
            <a:no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682755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1329576"/>
            <a:ext cx="2380800" cy="1161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31470F-221C-454B-A373-84EC8D761DC9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694FCE9F-7CC8-461C-A35B-9B9A4F49161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822400"/>
          </a:xfrm>
        </p:spPr>
        <p:txBody>
          <a:bodyPr anchor="t" anchorCtr="0">
            <a:no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996012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E28B0C4-8B96-4907-AAD9-1622E0A5F7A0}"/>
              </a:ext>
            </a:extLst>
          </p:cNvPr>
          <p:cNvSpPr/>
          <p:nvPr userDrawn="1"/>
        </p:nvSpPr>
        <p:spPr>
          <a:xfrm>
            <a:off x="1" y="1460501"/>
            <a:ext cx="12192000" cy="53975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>
              <a:latin typeface="RR Pioneer" panose="020B05030502010401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3797" y="315217"/>
            <a:ext cx="10456403" cy="689099"/>
          </a:xfrm>
        </p:spPr>
        <p:txBody>
          <a:bodyPr anchor="ctr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638BAF-3A7A-4ECC-A680-3149F09B0F8A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1B95883-C9F5-4CA1-A372-E3467616D9F3}"/>
              </a:ext>
            </a:extLst>
          </p:cNvPr>
          <p:cNvGrpSpPr/>
          <p:nvPr userDrawn="1"/>
        </p:nvGrpSpPr>
        <p:grpSpPr>
          <a:xfrm>
            <a:off x="431801" y="311150"/>
            <a:ext cx="428348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5B27E8ED-ED99-4AF4-82D0-9AF6F22A14F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5A6664BB-BF9E-4834-8602-E5D2A1E7D2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55D13E3F-473D-4DA9-AA64-F2A3F87003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50557495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- Export con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9EC6EB6-0EEE-4BBB-B4A6-72BF5D802D88}"/>
              </a:ext>
            </a:extLst>
          </p:cNvPr>
          <p:cNvSpPr/>
          <p:nvPr userDrawn="1"/>
        </p:nvSpPr>
        <p:spPr>
          <a:xfrm>
            <a:off x="3024717" y="0"/>
            <a:ext cx="916728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6AA855-7E6E-4927-A811-F63C0750684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47016" y="667200"/>
            <a:ext cx="8112000" cy="1665600"/>
          </a:xfrm>
        </p:spPr>
        <p:txBody>
          <a:bodyPr anchor="b">
            <a:noAutofit/>
          </a:bodyPr>
          <a:lstStyle>
            <a:lvl1pPr algn="l"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</a:t>
            </a:r>
            <a:br>
              <a:rPr lang="en-GB"/>
            </a:br>
            <a:r>
              <a:rPr lang="en-GB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0B840D-89AD-469A-9906-0384E3FD26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48000" y="2395200"/>
            <a:ext cx="8112000" cy="446400"/>
          </a:xfrm>
        </p:spPr>
        <p:txBody>
          <a:bodyPr>
            <a:noAutofit/>
          </a:bodyPr>
          <a:lstStyle>
            <a:lvl1pPr marL="0" indent="0" algn="l">
              <a:buNone/>
              <a:defRPr lang="en-US" sz="2667" kern="1200" dirty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Presentation sub-tit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9FCDBA-3B9B-4385-BED9-F418223EB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6626CD-BEE7-4DD4-A73D-E6E0E849D315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10B49E-C956-4407-B999-F88F1FA6F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6B4624-DA49-4DF6-A561-977EFFDF4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7E86416-DF3C-4150-A8E7-60289DFFAE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47017" y="2908800"/>
            <a:ext cx="8111067" cy="326400"/>
          </a:xfrm>
        </p:spPr>
        <p:txBody>
          <a:bodyPr>
            <a:no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uthor Name, Job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87897AC3-FB94-4825-8939-95C9C02349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48000" y="3297600"/>
            <a:ext cx="8111067" cy="326400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XXXX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346D7C4-096A-4546-981B-47B5DF66AA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4070400"/>
            <a:ext cx="2164800" cy="1920000"/>
          </a:xfrm>
        </p:spPr>
        <p:txBody>
          <a:bodyPr anchor="b" anchorCtr="0">
            <a:noAutofit/>
          </a:bodyPr>
          <a:lstStyle>
            <a:lvl1pPr>
              <a:defRPr sz="1067">
                <a:solidFill>
                  <a:srgbClr val="666666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BUSINESS STATEMENT: Insert mandatory statement, this can be copied and pasted from the markings summary slide. 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23CD3FFE-B4FD-4319-BC0B-255BAFEF989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23712722"/>
              </p:ext>
            </p:extLst>
          </p:nvPr>
        </p:nvGraphicFramePr>
        <p:xfrm>
          <a:off x="3647016" y="3807587"/>
          <a:ext cx="8113185" cy="1460214"/>
        </p:xfrm>
        <a:graphic>
          <a:graphicData uri="http://schemas.openxmlformats.org/drawingml/2006/table">
            <a:tbl>
              <a:tblPr firstRow="1" bandRow="1"/>
              <a:tblGrid>
                <a:gridCol w="2704395">
                  <a:extLst>
                    <a:ext uri="{9D8B030D-6E8A-4147-A177-3AD203B41FA5}">
                      <a16:colId xmlns:a16="http://schemas.microsoft.com/office/drawing/2014/main" val="1311732103"/>
                    </a:ext>
                  </a:extLst>
                </a:gridCol>
                <a:gridCol w="2704395">
                  <a:extLst>
                    <a:ext uri="{9D8B030D-6E8A-4147-A177-3AD203B41FA5}">
                      <a16:colId xmlns:a16="http://schemas.microsoft.com/office/drawing/2014/main" val="2932825049"/>
                    </a:ext>
                  </a:extLst>
                </a:gridCol>
                <a:gridCol w="2704395">
                  <a:extLst>
                    <a:ext uri="{9D8B030D-6E8A-4147-A177-3AD203B41FA5}">
                      <a16:colId xmlns:a16="http://schemas.microsoft.com/office/drawing/2014/main" val="1377039470"/>
                    </a:ext>
                  </a:extLst>
                </a:gridCol>
              </a:tblGrid>
              <a:tr h="304800">
                <a:tc gridSpan="3"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9pPr>
                    </a:lstStyle>
                    <a:p>
                      <a:pPr algn="ctr"/>
                      <a:r>
                        <a:rPr lang="en-GB" sz="1200">
                          <a:solidFill>
                            <a:schemeClr val="bg1"/>
                          </a:solidFill>
                          <a:latin typeface="RR Pioneer" panose="020B0503050201040103" pitchFamily="34" charset="0"/>
                        </a:rPr>
                        <a:t>This document is subject to the following Export Control Information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1746911"/>
                  </a:ext>
                </a:extLst>
              </a:tr>
              <a:tr h="304800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9pPr>
                    </a:lstStyle>
                    <a:p>
                      <a:pPr algn="ctr"/>
                      <a:r>
                        <a:rPr lang="en-GB" sz="1200">
                          <a:solidFill>
                            <a:schemeClr val="bg1"/>
                          </a:solidFill>
                          <a:latin typeface="RR Pioneer" panose="020B0503050201040103" pitchFamily="34" charset="0"/>
                        </a:rPr>
                        <a:t>Country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9pPr>
                    </a:lstStyle>
                    <a:p>
                      <a:pPr algn="ctr"/>
                      <a:r>
                        <a:rPr lang="en-GB" sz="1200">
                          <a:solidFill>
                            <a:schemeClr val="bg1"/>
                          </a:solidFill>
                          <a:latin typeface="RR Pioneer" panose="020B0503050201040103" pitchFamily="34" charset="0"/>
                        </a:rPr>
                        <a:t>Export Classification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9pPr>
                    </a:lstStyle>
                    <a:p>
                      <a:pPr algn="ctr"/>
                      <a:r>
                        <a:rPr lang="en-GB" sz="1200">
                          <a:solidFill>
                            <a:schemeClr val="bg1"/>
                          </a:solidFill>
                          <a:latin typeface="RR Pioneer" panose="020B0503050201040103" pitchFamily="34" charset="0"/>
                        </a:rPr>
                        <a:t>Date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4109106"/>
                  </a:ext>
                </a:extLst>
              </a:tr>
              <a:tr h="425307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9pPr>
                    </a:lstStyle>
                    <a:p>
                      <a:endParaRPr lang="en-GB" sz="1800">
                        <a:solidFill>
                          <a:schemeClr val="bg1"/>
                        </a:solidFill>
                        <a:latin typeface="RR Pioneer" panose="020B0503050201040103" pitchFamily="34" charset="0"/>
                      </a:endParaRP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9pPr>
                    </a:lstStyle>
                    <a:p>
                      <a:endParaRPr lang="en-GB" sz="1800">
                        <a:solidFill>
                          <a:schemeClr val="bg1"/>
                        </a:solidFill>
                        <a:latin typeface="RR Pioneer" panose="020B0503050201040103" pitchFamily="34" charset="0"/>
                      </a:endParaRP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9pPr>
                    </a:lstStyle>
                    <a:p>
                      <a:endParaRPr lang="en-GB" sz="1800">
                        <a:solidFill>
                          <a:schemeClr val="bg1"/>
                        </a:solidFill>
                        <a:latin typeface="RR Pioneer" panose="020B0503050201040103" pitchFamily="34" charset="0"/>
                      </a:endParaRP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3941994"/>
                  </a:ext>
                </a:extLst>
              </a:tr>
              <a:tr h="425307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9pPr>
                    </a:lstStyle>
                    <a:p>
                      <a:endParaRPr lang="en-GB" sz="1800">
                        <a:solidFill>
                          <a:schemeClr val="bg1"/>
                        </a:solidFill>
                        <a:latin typeface="RR Pioneer" panose="020B0503050201040103" pitchFamily="34" charset="0"/>
                      </a:endParaRP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9pPr>
                    </a:lstStyle>
                    <a:p>
                      <a:endParaRPr lang="en-GB" sz="1800">
                        <a:solidFill>
                          <a:schemeClr val="bg1"/>
                        </a:solidFill>
                        <a:latin typeface="RR Pioneer" panose="020B0503050201040103" pitchFamily="34" charset="0"/>
                      </a:endParaRP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9pPr>
                    </a:lstStyle>
                    <a:p>
                      <a:endParaRPr lang="en-GB" sz="1800">
                        <a:solidFill>
                          <a:schemeClr val="bg1"/>
                        </a:solidFill>
                        <a:latin typeface="RR Pioneer" panose="020B0503050201040103" pitchFamily="34" charset="0"/>
                      </a:endParaRP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4885933"/>
                  </a:ext>
                </a:extLst>
              </a:tr>
            </a:tbl>
          </a:graphicData>
        </a:graphic>
      </p:graphicFrame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A801F9D5-0A32-4DE1-9377-D59BE787AA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48000" y="4478400"/>
            <a:ext cx="2673600" cy="792000"/>
          </a:xfrm>
        </p:spPr>
        <p:txBody>
          <a:bodyPr>
            <a:normAutofit/>
          </a:bodyPr>
          <a:lstStyle>
            <a:lvl1pPr algn="ctr">
              <a:defRPr sz="10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704AEA61-F308-493F-B5DC-9F6FA87EF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84000" y="4478400"/>
            <a:ext cx="2654400" cy="792000"/>
          </a:xfrm>
        </p:spPr>
        <p:txBody>
          <a:bodyPr>
            <a:normAutofit/>
          </a:bodyPr>
          <a:lstStyle>
            <a:lvl1pPr marL="0" marR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CB52E09F-28F7-4386-8813-1A24206A80F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81600" y="4478400"/>
            <a:ext cx="2678400" cy="792000"/>
          </a:xfrm>
        </p:spPr>
        <p:txBody>
          <a:bodyPr>
            <a:normAutofit/>
          </a:bodyPr>
          <a:lstStyle>
            <a:lvl1pPr algn="ctr">
              <a:defRPr sz="10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F272C130-F343-4C01-8F73-979904DD265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48000" y="5400000"/>
            <a:ext cx="8112000" cy="628800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XXXX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E66267C-D231-4480-9FE7-47C80CBF3DAB}"/>
              </a:ext>
            </a:extLst>
          </p:cNvPr>
          <p:cNvGrpSpPr/>
          <p:nvPr userDrawn="1"/>
        </p:nvGrpSpPr>
        <p:grpSpPr>
          <a:xfrm>
            <a:off x="1020974" y="2230120"/>
            <a:ext cx="959247" cy="1559573"/>
            <a:chOff x="-3513606" y="270529"/>
            <a:chExt cx="1671638" cy="2717801"/>
          </a:xfrm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CE89E7AF-EC1B-4360-98C7-5641C6627B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A0A95A47-8F22-4769-B510-034047D765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2CA32FF8-B4DB-420F-8611-BF17C6A730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489518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tic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D159010-F6B7-4456-A111-99866DEB1258}"/>
              </a:ext>
            </a:extLst>
          </p:cNvPr>
          <p:cNvSpPr/>
          <p:nvPr userDrawn="1"/>
        </p:nvSpPr>
        <p:spPr>
          <a:xfrm>
            <a:off x="1" y="1"/>
            <a:ext cx="12192000" cy="53975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>
              <a:latin typeface="RR Pioneer" panose="020B0503050201040103" pitchFamily="34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AC62A4-DBF9-4ECD-8269-1FB674A291D3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1323BE95-5F85-499F-ABBC-77935810AD6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339200"/>
            <a:ext cx="11328400" cy="37728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Insert diagram</a:t>
            </a:r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08D47E3-3154-48B5-953B-F5E39096AE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2400" y="5721600"/>
            <a:ext cx="5548800" cy="441600"/>
          </a:xfrm>
        </p:spPr>
        <p:txBody>
          <a:bodyPr anchor="ctr" anchorCtr="0">
            <a:normAutofit/>
          </a:bodyPr>
          <a:lstStyle>
            <a:lvl1pPr>
              <a:defRPr sz="2133"/>
            </a:lvl1pPr>
          </a:lstStyle>
          <a:p>
            <a:r>
              <a:rPr lang="en-US"/>
              <a:t>Notices</a:t>
            </a:r>
            <a:endParaRPr lang="en-GB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B4A1EF4-EFD7-4E27-B7D9-FA9B1506376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72800" y="5721600"/>
            <a:ext cx="5592000" cy="441600"/>
          </a:xfrm>
        </p:spPr>
        <p:txBody>
          <a:bodyPr anchor="t" anchorCtr="0"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AB157D5-D157-4A43-B05E-D54FF9686F80}"/>
              </a:ext>
            </a:extLst>
          </p:cNvPr>
          <p:cNvGrpSpPr/>
          <p:nvPr userDrawn="1"/>
        </p:nvGrpSpPr>
        <p:grpSpPr>
          <a:xfrm>
            <a:off x="431801" y="311150"/>
            <a:ext cx="428348" cy="696421"/>
            <a:chOff x="-3513606" y="270529"/>
            <a:chExt cx="1671638" cy="2717801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4D4CC742-FC0F-434D-90FD-5D497A1C3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B0BE6CB3-AF39-44FD-ADE2-60176DB65E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4CA628E8-FFED-4FF9-8FE4-D6DDFDB62E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860033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tice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A3CE19-DB70-44D0-8428-6F7B15EFA3E9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1323BE95-5F85-499F-ABBC-77935810AD6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0" y="1339200"/>
            <a:ext cx="11328400" cy="37728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Insert diagram</a:t>
            </a:r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08D47E3-3154-48B5-953B-F5E39096AE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2400" y="5721600"/>
            <a:ext cx="5548800" cy="441600"/>
          </a:xfrm>
        </p:spPr>
        <p:txBody>
          <a:bodyPr anchor="ctr" anchorCtr="0">
            <a:normAutofit/>
          </a:bodyPr>
          <a:lstStyle>
            <a:lvl1pPr>
              <a:defRPr sz="2133"/>
            </a:lvl1pPr>
          </a:lstStyle>
          <a:p>
            <a:r>
              <a:rPr lang="en-US"/>
              <a:t>Notices</a:t>
            </a:r>
            <a:endParaRPr lang="en-GB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B4A1EF4-EFD7-4E27-B7D9-FA9B1506376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72800" y="5721600"/>
            <a:ext cx="5592000" cy="441600"/>
          </a:xfrm>
        </p:spPr>
        <p:txBody>
          <a:bodyPr anchor="t" anchorCtr="0"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85A9E4F-78F0-4B7A-8412-AE78FDB5010C}"/>
              </a:ext>
            </a:extLst>
          </p:cNvPr>
          <p:cNvGrpSpPr/>
          <p:nvPr userDrawn="1"/>
        </p:nvGrpSpPr>
        <p:grpSpPr>
          <a:xfrm>
            <a:off x="431801" y="311150"/>
            <a:ext cx="428348" cy="696421"/>
            <a:chOff x="-3513606" y="270529"/>
            <a:chExt cx="1671638" cy="2717801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2692AD1-8CD5-47C1-9189-C02951A33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BDBED46E-8954-4C03-A417-CE6EFE26D1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3A834507-B43B-4913-8B13-D187E29E8C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5525061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 Bo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1329576"/>
            <a:ext cx="2380800" cy="1161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79A8E6-BC4D-48D8-A0A8-8E6FD3C7B8AB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F7C4262-B1E2-4390-9CC0-DC843CB2B1D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56323" y="1316567"/>
            <a:ext cx="4008000" cy="1512000"/>
          </a:xfrm>
          <a:prstGeom prst="roundRect">
            <a:avLst>
              <a:gd name="adj" fmla="val 4279"/>
            </a:avLst>
          </a:prstGeom>
          <a:solidFill>
            <a:schemeClr val="tx2"/>
          </a:solidFill>
        </p:spPr>
        <p:txBody>
          <a:bodyPr lIns="144000" tIns="144000" rIns="0" bIns="93600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7151D7D-50CC-418E-B796-D51754FA7F1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752000" y="1316567"/>
            <a:ext cx="4008000" cy="1512000"/>
          </a:xfrm>
          <a:prstGeom prst="roundRect">
            <a:avLst>
              <a:gd name="adj" fmla="val 4279"/>
            </a:avLst>
          </a:prstGeom>
          <a:solidFill>
            <a:schemeClr val="tx2"/>
          </a:solidFill>
        </p:spPr>
        <p:txBody>
          <a:bodyPr lIns="144000" tIns="144000" rIns="0" bIns="93600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0AE63891-8074-4D46-A9D4-BFF017A3AF6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56323" y="2901527"/>
            <a:ext cx="4008000" cy="1512000"/>
          </a:xfrm>
          <a:prstGeom prst="roundRect">
            <a:avLst>
              <a:gd name="adj" fmla="val 4279"/>
            </a:avLst>
          </a:prstGeom>
          <a:solidFill>
            <a:schemeClr val="bg2"/>
          </a:solidFill>
        </p:spPr>
        <p:txBody>
          <a:bodyPr lIns="144000" tIns="144000" rIns="0" bIns="93600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1D4C929-2539-4CB6-8559-FC2C66274FB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52200" y="2901527"/>
            <a:ext cx="4008000" cy="1512000"/>
          </a:xfrm>
          <a:prstGeom prst="roundRect">
            <a:avLst>
              <a:gd name="adj" fmla="val 4279"/>
            </a:avLst>
          </a:prstGeom>
          <a:solidFill>
            <a:schemeClr val="bg2"/>
          </a:solidFill>
        </p:spPr>
        <p:txBody>
          <a:bodyPr lIns="144000" tIns="144000" rIns="0" bIns="93600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61BC6352-7F9D-4A54-AD55-F7814310EA2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656323" y="4486487"/>
            <a:ext cx="4008000" cy="1512000"/>
          </a:xfrm>
          <a:prstGeom prst="roundRect">
            <a:avLst>
              <a:gd name="adj" fmla="val 4279"/>
            </a:avLst>
          </a:prstGeom>
          <a:solidFill>
            <a:srgbClr val="4F98FF"/>
          </a:solidFill>
        </p:spPr>
        <p:txBody>
          <a:bodyPr lIns="144000" tIns="144000" rIns="0" bIns="93600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FB911FA-14AD-4D97-88E2-66F2A46DC9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752200" y="4486487"/>
            <a:ext cx="4008000" cy="1512000"/>
          </a:xfrm>
          <a:prstGeom prst="roundRect">
            <a:avLst>
              <a:gd name="adj" fmla="val 4279"/>
            </a:avLst>
          </a:prstGeom>
          <a:solidFill>
            <a:srgbClr val="4F98FF"/>
          </a:solidFill>
        </p:spPr>
        <p:txBody>
          <a:bodyPr lIns="144000" tIns="144000" rIns="0" bIns="93600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5AB56C8-B62B-40FE-A364-F1C128A65C6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873600" y="2092800"/>
            <a:ext cx="782400" cy="643200"/>
          </a:xfrm>
        </p:spPr>
        <p:txBody>
          <a:bodyPr>
            <a:noAutofit/>
          </a:bodyPr>
          <a:lstStyle>
            <a:lvl1pPr>
              <a:defRPr lang="en-US" sz="4267" kern="1200" dirty="0" smtClean="0">
                <a:solidFill>
                  <a:schemeClr val="bg1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XXX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3E1B131-4F77-45CF-A50C-F61E8F159AD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665600" y="2092800"/>
            <a:ext cx="782400" cy="643200"/>
          </a:xfrm>
        </p:spPr>
        <p:txBody>
          <a:bodyPr anchor="ctr">
            <a:noAutofit/>
          </a:bodyPr>
          <a:lstStyle>
            <a:lvl1pPr>
              <a:defRPr lang="en-US" sz="3200" kern="1200" dirty="0" smtClean="0">
                <a:solidFill>
                  <a:schemeClr val="bg1"/>
                </a:solidFill>
                <a:latin typeface="RR Pioneer UltraLight Condensed" panose="020B020603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bn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03A3F461-46BA-46D7-BB45-45025DA17608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977600" y="2092800"/>
            <a:ext cx="782400" cy="643200"/>
          </a:xfrm>
        </p:spPr>
        <p:txBody>
          <a:bodyPr>
            <a:noAutofit/>
          </a:bodyPr>
          <a:lstStyle>
            <a:lvl1pPr>
              <a:defRPr lang="en-US" sz="4267" kern="1200" dirty="0" smtClean="0">
                <a:solidFill>
                  <a:schemeClr val="bg1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XXX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6DB0C383-756A-4825-96DB-39AE0E77F02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788800" y="2092800"/>
            <a:ext cx="782400" cy="643200"/>
          </a:xfrm>
        </p:spPr>
        <p:txBody>
          <a:bodyPr anchor="ctr">
            <a:noAutofit/>
          </a:bodyPr>
          <a:lstStyle>
            <a:lvl1pPr>
              <a:defRPr lang="en-US" sz="3200" kern="1200" dirty="0" smtClean="0">
                <a:solidFill>
                  <a:schemeClr val="bg1"/>
                </a:solidFill>
                <a:latin typeface="RR Pioneer UltraLight Condensed" panose="020B020603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bn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60E3DA9D-D865-4EFD-BA9A-5F95E8FE142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977600" y="3686400"/>
            <a:ext cx="782400" cy="643200"/>
          </a:xfrm>
        </p:spPr>
        <p:txBody>
          <a:bodyPr>
            <a:noAutofit/>
          </a:bodyPr>
          <a:lstStyle>
            <a:lvl1pPr>
              <a:defRPr lang="en-US" sz="4267" kern="1200" dirty="0" smtClean="0">
                <a:solidFill>
                  <a:schemeClr val="bg1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XXX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2EB4725C-D96C-4AC9-9835-E902E26EC2B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788800" y="3686400"/>
            <a:ext cx="782400" cy="643200"/>
          </a:xfrm>
        </p:spPr>
        <p:txBody>
          <a:bodyPr anchor="ctr">
            <a:noAutofit/>
          </a:bodyPr>
          <a:lstStyle>
            <a:lvl1pPr>
              <a:defRPr lang="en-US" sz="3200" kern="1200" dirty="0" smtClean="0">
                <a:solidFill>
                  <a:schemeClr val="bg1"/>
                </a:solidFill>
                <a:latin typeface="RR Pioneer UltraLight Condensed" panose="020B020603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bn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7568C7F1-EC35-498A-8EB0-646BA8BC1226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873600" y="3686400"/>
            <a:ext cx="782400" cy="643200"/>
          </a:xfrm>
        </p:spPr>
        <p:txBody>
          <a:bodyPr>
            <a:noAutofit/>
          </a:bodyPr>
          <a:lstStyle>
            <a:lvl1pPr>
              <a:defRPr lang="en-US" sz="4267" kern="1200" dirty="0" smtClean="0">
                <a:solidFill>
                  <a:schemeClr val="bg1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XXX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B48BA38-004F-4E92-B849-96ACB322FC0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665600" y="3686400"/>
            <a:ext cx="782400" cy="643200"/>
          </a:xfrm>
        </p:spPr>
        <p:txBody>
          <a:bodyPr anchor="ctr">
            <a:noAutofit/>
          </a:bodyPr>
          <a:lstStyle>
            <a:lvl1pPr>
              <a:defRPr lang="en-US" sz="3200" kern="1200" dirty="0" smtClean="0">
                <a:solidFill>
                  <a:schemeClr val="bg1"/>
                </a:solidFill>
                <a:latin typeface="RR Pioneer UltraLight Condensed" panose="020B020603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bn</a:t>
            </a: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A35F4A29-365E-4722-B58C-7EF681A5547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873600" y="5275200"/>
            <a:ext cx="782400" cy="643200"/>
          </a:xfrm>
        </p:spPr>
        <p:txBody>
          <a:bodyPr>
            <a:noAutofit/>
          </a:bodyPr>
          <a:lstStyle>
            <a:lvl1pPr>
              <a:defRPr lang="en-US" sz="4267" kern="1200" dirty="0" smtClean="0">
                <a:solidFill>
                  <a:schemeClr val="bg1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XXX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2C3F33B7-2E5B-4B6D-B214-C92650DCC4B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665600" y="5275200"/>
            <a:ext cx="782400" cy="643200"/>
          </a:xfrm>
        </p:spPr>
        <p:txBody>
          <a:bodyPr anchor="ctr">
            <a:noAutofit/>
          </a:bodyPr>
          <a:lstStyle>
            <a:lvl1pPr>
              <a:defRPr lang="en-US" sz="3200" kern="1200" dirty="0" smtClean="0">
                <a:solidFill>
                  <a:schemeClr val="bg1"/>
                </a:solidFill>
                <a:latin typeface="RR Pioneer UltraLight Condensed" panose="020B020603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bn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B8A8C08C-4631-444D-AE30-8783BEC3F65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977600" y="5275200"/>
            <a:ext cx="782400" cy="643200"/>
          </a:xfrm>
        </p:spPr>
        <p:txBody>
          <a:bodyPr>
            <a:noAutofit/>
          </a:bodyPr>
          <a:lstStyle>
            <a:lvl1pPr algn="r">
              <a:defRPr lang="en-US" sz="4267" kern="1200" dirty="0" smtClean="0">
                <a:solidFill>
                  <a:schemeClr val="bg1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XXX</a:t>
            </a: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820DB816-3EF9-4363-A2B8-60A20576417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788800" y="5275200"/>
            <a:ext cx="782400" cy="643200"/>
          </a:xfrm>
        </p:spPr>
        <p:txBody>
          <a:bodyPr anchor="ctr">
            <a:noAutofit/>
          </a:bodyPr>
          <a:lstStyle>
            <a:lvl1pPr>
              <a:defRPr lang="en-US" sz="3200" kern="1200" dirty="0" smtClean="0">
                <a:solidFill>
                  <a:schemeClr val="bg1"/>
                </a:solidFill>
                <a:latin typeface="RR Pioneer UltraLight Condensed" panose="020B020603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bn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FD5CF3FE-2B86-4030-A78C-A64903B282C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1284800" y="5318400"/>
            <a:ext cx="230400" cy="528000"/>
          </a:xfrm>
        </p:spPr>
        <p:txBody>
          <a:bodyPr anchor="t">
            <a:noAutofit/>
          </a:bodyPr>
          <a:lstStyle>
            <a:lvl1pPr>
              <a:defRPr lang="en-US" sz="1867" kern="1200" dirty="0" smtClean="0">
                <a:solidFill>
                  <a:schemeClr val="bg1"/>
                </a:solidFill>
                <a:latin typeface="RR Pioneer UltraLight Condensed" panose="020B020603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%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1963590-F49A-4823-9FEB-EC5B6E12806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854400" y="5275200"/>
            <a:ext cx="1348800" cy="662400"/>
          </a:xfrm>
        </p:spPr>
        <p:txBody>
          <a:bodyPr>
            <a:noAutofit/>
          </a:bodyPr>
          <a:lstStyle>
            <a:lvl1pPr algn="r">
              <a:defRPr lang="en-US" sz="4267" kern="1200" dirty="0" smtClean="0">
                <a:solidFill>
                  <a:schemeClr val="bg1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AD8F6A02-DD58-48B5-8D82-EA0E3BBC4A7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1284800" y="3820800"/>
            <a:ext cx="230400" cy="528000"/>
          </a:xfrm>
        </p:spPr>
        <p:txBody>
          <a:bodyPr anchor="t">
            <a:noAutofit/>
          </a:bodyPr>
          <a:lstStyle>
            <a:lvl1pPr>
              <a:defRPr lang="en-US" sz="1867" kern="1200" dirty="0" smtClean="0">
                <a:solidFill>
                  <a:schemeClr val="bg1"/>
                </a:solidFill>
                <a:latin typeface="RR Pioneer UltraLight Condensed" panose="020B020603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%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7BC33900-880E-4252-9C64-2777488A336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854400" y="3686400"/>
            <a:ext cx="1348800" cy="662400"/>
          </a:xfrm>
        </p:spPr>
        <p:txBody>
          <a:bodyPr>
            <a:noAutofit/>
          </a:bodyPr>
          <a:lstStyle>
            <a:lvl1pPr algn="r">
              <a:defRPr lang="en-US" sz="4267" kern="1200" dirty="0" smtClean="0">
                <a:solidFill>
                  <a:schemeClr val="bg1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FF6C5DA4-D272-41AC-972C-108F6AECF03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1284800" y="2208000"/>
            <a:ext cx="230400" cy="528000"/>
          </a:xfrm>
        </p:spPr>
        <p:txBody>
          <a:bodyPr anchor="t">
            <a:noAutofit/>
          </a:bodyPr>
          <a:lstStyle>
            <a:lvl1pPr>
              <a:defRPr lang="en-US" sz="1867" kern="1200" dirty="0" smtClean="0">
                <a:solidFill>
                  <a:schemeClr val="bg1"/>
                </a:solidFill>
                <a:latin typeface="RR Pioneer UltraLight Condensed" panose="020B020603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%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C4BDB211-379A-466D-9566-314967B29C9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854400" y="2073600"/>
            <a:ext cx="1348800" cy="662400"/>
          </a:xfrm>
        </p:spPr>
        <p:txBody>
          <a:bodyPr>
            <a:noAutofit/>
          </a:bodyPr>
          <a:lstStyle>
            <a:lvl1pPr algn="r">
              <a:defRPr lang="en-US" sz="4267" kern="1200" dirty="0" smtClean="0">
                <a:solidFill>
                  <a:schemeClr val="bg1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57F86536-0705-4118-9182-664D0D31550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32000" y="2577600"/>
            <a:ext cx="2380800" cy="2822400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518028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1329576"/>
            <a:ext cx="2380800" cy="1161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D6BD7E-6147-4C41-8DF4-63F0DD6EFF94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75A85287-135B-486B-86D4-C63323517DF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647018" y="1057397"/>
            <a:ext cx="7910495" cy="499784"/>
          </a:xfrm>
          <a:prstGeom prst="roundRect">
            <a:avLst>
              <a:gd name="adj" fmla="val 11563"/>
            </a:avLst>
          </a:prstGeom>
          <a:solidFill>
            <a:srgbClr val="666666"/>
          </a:solidFill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1CB650E3-832B-48D1-B8B8-5D4E56D719B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47016" y="2391159"/>
            <a:ext cx="1929600" cy="1468772"/>
          </a:xfrm>
          <a:prstGeom prst="roundRect">
            <a:avLst>
              <a:gd name="adj" fmla="val 4429"/>
            </a:avLst>
          </a:prstGeom>
          <a:solidFill>
            <a:schemeClr val="bg2">
              <a:lumMod val="60000"/>
              <a:lumOff val="40000"/>
            </a:schemeClr>
          </a:solidFill>
        </p:spPr>
        <p:txBody>
          <a:bodyPr lIns="108000" tIns="72000" rIns="0" bIns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60" name="Text Placeholder 19">
            <a:extLst>
              <a:ext uri="{FF2B5EF4-FFF2-40B4-BE49-F238E27FC236}">
                <a16:creationId xmlns:a16="http://schemas.microsoft.com/office/drawing/2014/main" id="{0FC6D592-E436-4BAE-872B-CDE3F921DE9D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3817109" y="3142963"/>
            <a:ext cx="1557867" cy="543045"/>
          </a:xfrm>
        </p:spPr>
        <p:txBody>
          <a:bodyPr/>
          <a:lstStyle>
            <a:lvl1pPr>
              <a:defRPr sz="1333">
                <a:solidFill>
                  <a:schemeClr val="bg1"/>
                </a:solidFill>
                <a:latin typeface="RR Pioneer" panose="020B0503050201040103" pitchFamily="34" charset="0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85C6D04F-F4B6-4491-AF54-B8E79377571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640648" y="2391159"/>
            <a:ext cx="1929600" cy="1468772"/>
          </a:xfrm>
          <a:prstGeom prst="roundRect">
            <a:avLst>
              <a:gd name="adj" fmla="val 4429"/>
            </a:avLst>
          </a:prstGeom>
          <a:solidFill>
            <a:schemeClr val="bg2"/>
          </a:solidFill>
        </p:spPr>
        <p:txBody>
          <a:bodyPr lIns="108000" tIns="72000" rIns="0" bIns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F4338FBE-09E5-4D0B-917D-6947C2D2528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634280" y="2391159"/>
            <a:ext cx="1929600" cy="1468772"/>
          </a:xfrm>
          <a:prstGeom prst="roundRect">
            <a:avLst>
              <a:gd name="adj" fmla="val 5121"/>
            </a:avLst>
          </a:prstGeom>
          <a:solidFill>
            <a:schemeClr val="tx2"/>
          </a:solidFill>
        </p:spPr>
        <p:txBody>
          <a:bodyPr lIns="108000" tIns="72000" rIns="0" bIns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71C44EEB-F195-4E66-938F-E1BEA867F63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627912" y="2391159"/>
            <a:ext cx="1929600" cy="1468772"/>
          </a:xfrm>
          <a:prstGeom prst="roundRect">
            <a:avLst>
              <a:gd name="adj" fmla="val 4429"/>
            </a:avLst>
          </a:prstGeom>
          <a:solidFill>
            <a:schemeClr val="accent5"/>
          </a:solidFill>
        </p:spPr>
        <p:txBody>
          <a:bodyPr lIns="108000" tIns="72000" rIns="0" bIns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64" name="Text Placeholder 19">
            <a:extLst>
              <a:ext uri="{FF2B5EF4-FFF2-40B4-BE49-F238E27FC236}">
                <a16:creationId xmlns:a16="http://schemas.microsoft.com/office/drawing/2014/main" id="{D76CFD0B-C3F4-4A72-9C00-260BB9F13492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5822144" y="3142963"/>
            <a:ext cx="1557867" cy="543045"/>
          </a:xfrm>
        </p:spPr>
        <p:txBody>
          <a:bodyPr/>
          <a:lstStyle>
            <a:lvl1pPr>
              <a:defRPr sz="1333">
                <a:solidFill>
                  <a:schemeClr val="bg1"/>
                </a:solidFill>
                <a:latin typeface="RR Pioneer" panose="020B0503050201040103" pitchFamily="34" charset="0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65" name="Text Placeholder 19">
            <a:extLst>
              <a:ext uri="{FF2B5EF4-FFF2-40B4-BE49-F238E27FC236}">
                <a16:creationId xmlns:a16="http://schemas.microsoft.com/office/drawing/2014/main" id="{7CDF45B7-CD92-405F-A022-D2134DD260C8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7815623" y="3142963"/>
            <a:ext cx="1557867" cy="543045"/>
          </a:xfrm>
        </p:spPr>
        <p:txBody>
          <a:bodyPr/>
          <a:lstStyle>
            <a:lvl1pPr>
              <a:defRPr sz="1333">
                <a:solidFill>
                  <a:schemeClr val="bg1"/>
                </a:solidFill>
                <a:latin typeface="RR Pioneer" panose="020B0503050201040103" pitchFamily="34" charset="0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66" name="Text Placeholder 19">
            <a:extLst>
              <a:ext uri="{FF2B5EF4-FFF2-40B4-BE49-F238E27FC236}">
                <a16:creationId xmlns:a16="http://schemas.microsoft.com/office/drawing/2014/main" id="{52239209-AA29-4A7E-AECF-CC2095FC3FE5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788080" y="3142963"/>
            <a:ext cx="1557867" cy="543045"/>
          </a:xfrm>
        </p:spPr>
        <p:txBody>
          <a:bodyPr/>
          <a:lstStyle>
            <a:lvl1pPr>
              <a:defRPr sz="1333">
                <a:solidFill>
                  <a:schemeClr val="bg1"/>
                </a:solidFill>
                <a:latin typeface="RR Pioneer" panose="020B0503050201040103" pitchFamily="34" charset="0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7CB8A118-3F5B-4E57-838E-DA33C3E8F4C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635817" y="5400104"/>
            <a:ext cx="3921600" cy="499784"/>
          </a:xfrm>
          <a:prstGeom prst="roundRect">
            <a:avLst>
              <a:gd name="adj" fmla="val 9530"/>
            </a:avLst>
          </a:prstGeom>
          <a:solidFill>
            <a:schemeClr val="bg2"/>
          </a:solidFill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9BD0518C-477E-40F2-845D-9984875E3AA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647017" y="5400104"/>
            <a:ext cx="3921600" cy="499784"/>
          </a:xfrm>
          <a:prstGeom prst="roundRect">
            <a:avLst>
              <a:gd name="adj" fmla="val 9530"/>
            </a:avLst>
          </a:prstGeom>
          <a:solidFill>
            <a:schemeClr val="tx2"/>
          </a:solidFill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69" name="Text Placeholder 4">
            <a:extLst>
              <a:ext uri="{FF2B5EF4-FFF2-40B4-BE49-F238E27FC236}">
                <a16:creationId xmlns:a16="http://schemas.microsoft.com/office/drawing/2014/main" id="{A2ED66F8-5CDB-4DD5-B4B1-3A92BD6C56B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647017" y="4693907"/>
            <a:ext cx="7910400" cy="499784"/>
          </a:xfrm>
          <a:prstGeom prst="roundRect">
            <a:avLst>
              <a:gd name="adj" fmla="val 7497"/>
            </a:avLst>
          </a:prstGeom>
          <a:solidFill>
            <a:srgbClr val="404040"/>
          </a:solidFill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57C24875-1F04-4CF6-9DE6-5D37B1D1518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822400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83645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tice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D159010-F6B7-4456-A111-99866DEB1258}"/>
              </a:ext>
            </a:extLst>
          </p:cNvPr>
          <p:cNvSpPr/>
          <p:nvPr userDrawn="1"/>
        </p:nvSpPr>
        <p:spPr>
          <a:xfrm>
            <a:off x="1" y="1"/>
            <a:ext cx="12192000" cy="53975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>
              <a:latin typeface="RR Pioneer" panose="020B0503050201040103" pitchFamily="34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CBC598-75F8-4EA0-96B9-42F657151DEB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08D47E3-3154-48B5-953B-F5E39096AE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2400" y="5721600"/>
            <a:ext cx="11337600" cy="408000"/>
          </a:xfrm>
        </p:spPr>
        <p:txBody>
          <a:bodyPr anchor="ctr" anchorCtr="0">
            <a:normAutofit/>
          </a:bodyPr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Notices</a:t>
            </a:r>
            <a:endParaRPr lang="en-GB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163CA43-F39D-47AF-8DC3-665E9255E0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12000" y="1353600"/>
            <a:ext cx="2961600" cy="3489600"/>
          </a:xfrm>
          <a:prstGeom prst="roundRect">
            <a:avLst>
              <a:gd name="adj" fmla="val 4279"/>
            </a:avLst>
          </a:prstGeom>
          <a:solidFill>
            <a:schemeClr val="tx2"/>
          </a:solidFill>
        </p:spPr>
        <p:txBody>
          <a:bodyPr lIns="360000" tIns="288000" rIns="144000" bIns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67" kern="1200" smtClean="0">
                <a:solidFill>
                  <a:schemeClr val="bg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Notic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47EEE6DB-D188-408B-8F41-84AEE3F4FC4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605600" y="1353600"/>
            <a:ext cx="2961600" cy="3489600"/>
          </a:xfrm>
          <a:prstGeom prst="roundRect">
            <a:avLst>
              <a:gd name="adj" fmla="val 4279"/>
            </a:avLst>
          </a:prstGeom>
          <a:solidFill>
            <a:schemeClr val="bg2"/>
          </a:solidFill>
        </p:spPr>
        <p:txBody>
          <a:bodyPr lIns="360000" tIns="288000" rIns="144000" bIns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67" kern="1200" smtClean="0">
                <a:solidFill>
                  <a:schemeClr val="bg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Notic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CF30B6C-BC8F-48BE-8430-FE037C07BBE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699200" y="1353600"/>
            <a:ext cx="2952000" cy="3494400"/>
          </a:xfrm>
          <a:prstGeom prst="roundRect">
            <a:avLst>
              <a:gd name="adj" fmla="val 4279"/>
            </a:avLst>
          </a:prstGeom>
          <a:solidFill>
            <a:srgbClr val="4F98FF"/>
          </a:solidFill>
        </p:spPr>
        <p:txBody>
          <a:bodyPr lIns="360000" tIns="288000" rIns="144000" bIns="0">
            <a:no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67" kern="1200" smtClean="0">
                <a:solidFill>
                  <a:schemeClr val="bg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54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Notic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56D6384-C351-4F9B-88F2-671744FB9088}"/>
              </a:ext>
            </a:extLst>
          </p:cNvPr>
          <p:cNvGrpSpPr/>
          <p:nvPr userDrawn="1"/>
        </p:nvGrpSpPr>
        <p:grpSpPr>
          <a:xfrm>
            <a:off x="431801" y="311150"/>
            <a:ext cx="428348" cy="696421"/>
            <a:chOff x="-3513606" y="270529"/>
            <a:chExt cx="1671638" cy="2717801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5812647F-26BF-401B-BDB1-2AFB378E0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A065D88-D1A0-4C3A-BB43-CF9B54DB28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095271E2-B91F-484B-96C7-479D699F67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142129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- Title,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BB709E-AB63-4DA3-9B2B-0B6827FC0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7E24CA-5EE6-4B72-A9D9-DAF798B173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B008B9A-EE65-49AF-A48B-889352C8E5F2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3115BA-E869-42EF-9DC3-1C66FF357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EC8DD1-4AAC-49E2-A373-1C03C439C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A29DB36-4067-4D81-BA39-80FAF73D6B8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822400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879B1B0-D2DE-4D5E-914E-DD19078D7A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024000" y="0"/>
            <a:ext cx="2956800" cy="1147200"/>
          </a:xfrm>
          <a:solidFill>
            <a:schemeClr val="tx2"/>
          </a:solidFill>
        </p:spPr>
        <p:txBody>
          <a:bodyPr lIns="144000" rIns="144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of box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9DD76131-D74B-45E7-98D0-F53E8B723FA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29600" y="0"/>
            <a:ext cx="2956800" cy="1147200"/>
          </a:xfrm>
          <a:solidFill>
            <a:schemeClr val="bg2"/>
          </a:solidFill>
        </p:spPr>
        <p:txBody>
          <a:bodyPr lIns="144000" rIns="144000" anchor="ctr"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of box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36F9053C-C469-402D-8719-36C9166F52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235200" y="0"/>
            <a:ext cx="2956800" cy="1147200"/>
          </a:xfrm>
          <a:solidFill>
            <a:srgbClr val="4F98FF"/>
          </a:solidFill>
        </p:spPr>
        <p:txBody>
          <a:bodyPr lIns="144000" rIns="144000" anchor="ctr">
            <a:normAutofit/>
          </a:bodyPr>
          <a:lstStyle>
            <a:lvl1pPr>
              <a:defRPr lang="en-US" sz="1867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/>
              <a:t>Title of box</a:t>
            </a:r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C9603618-8BAB-4FD9-8D88-D4EF68F5A465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3024717" y="1166400"/>
            <a:ext cx="2952000" cy="1920000"/>
          </a:xfrm>
          <a:solidFill>
            <a:srgbClr val="8A8A8F"/>
          </a:solidFill>
        </p:spPr>
        <p:txBody>
          <a:bodyPr lIns="144000" tIns="108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2" name="Picture Placeholder 29">
            <a:extLst>
              <a:ext uri="{FF2B5EF4-FFF2-40B4-BE49-F238E27FC236}">
                <a16:creationId xmlns:a16="http://schemas.microsoft.com/office/drawing/2014/main" id="{9F2732AD-76E6-41B8-8EFC-B986FE432FCE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6134400" y="1166400"/>
            <a:ext cx="2952000" cy="1920000"/>
          </a:xfrm>
          <a:solidFill>
            <a:srgbClr val="8A8A8F"/>
          </a:solidFill>
        </p:spPr>
        <p:txBody>
          <a:bodyPr lIns="144000" tIns="108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3" name="Picture Placeholder 29">
            <a:extLst>
              <a:ext uri="{FF2B5EF4-FFF2-40B4-BE49-F238E27FC236}">
                <a16:creationId xmlns:a16="http://schemas.microsoft.com/office/drawing/2014/main" id="{15CE6D4E-BCF7-43D0-8ADD-1BE02864002F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9240000" y="1166400"/>
            <a:ext cx="2952000" cy="1920000"/>
          </a:xfrm>
          <a:solidFill>
            <a:srgbClr val="8A8A8F"/>
          </a:solidFill>
        </p:spPr>
        <p:txBody>
          <a:bodyPr lIns="144000" tIns="108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9B50BC3E-4183-42C9-A6B3-7CE2F9E752F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024717" y="3105600"/>
            <a:ext cx="2956800" cy="3752400"/>
          </a:xfrm>
          <a:solidFill>
            <a:srgbClr val="666666"/>
          </a:solidFill>
        </p:spPr>
        <p:txBody>
          <a:bodyPr lIns="144000" tIns="144000" rIns="144000" anchor="t">
            <a:normAutofit/>
          </a:bodyPr>
          <a:lstStyle>
            <a:lvl1pPr>
              <a:defRPr lang="en-US" sz="1867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itle of box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E96532E0-0B2B-49D1-B4F4-B96883651DC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129600" y="3105600"/>
            <a:ext cx="2956800" cy="3752400"/>
          </a:xfrm>
          <a:solidFill>
            <a:srgbClr val="666666"/>
          </a:solidFill>
        </p:spPr>
        <p:txBody>
          <a:bodyPr lIns="144000" tIns="144000" rIns="144000" anchor="t">
            <a:normAutofit/>
          </a:bodyPr>
          <a:lstStyle>
            <a:lvl1pPr>
              <a:defRPr lang="en-US" sz="1867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itle of box</a:t>
            </a:r>
          </a:p>
        </p:txBody>
      </p:sp>
      <p:sp>
        <p:nvSpPr>
          <p:cNvPr id="36" name="Text Placeholder 25">
            <a:extLst>
              <a:ext uri="{FF2B5EF4-FFF2-40B4-BE49-F238E27FC236}">
                <a16:creationId xmlns:a16="http://schemas.microsoft.com/office/drawing/2014/main" id="{066E0B23-5E8A-4EFC-AF77-9D113991B22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235200" y="3105600"/>
            <a:ext cx="2956800" cy="3752400"/>
          </a:xfrm>
          <a:solidFill>
            <a:srgbClr val="666666"/>
          </a:solidFill>
        </p:spPr>
        <p:txBody>
          <a:bodyPr lIns="144000" tIns="144000" rIns="144000" anchor="t">
            <a:normAutofit/>
          </a:bodyPr>
          <a:lstStyle>
            <a:lvl1pPr>
              <a:defRPr lang="en-US" sz="1867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itle of box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199409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x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BBB709E-AB63-4DA3-9B2B-0B6827FC0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3115BA-E869-42EF-9DC3-1C66FF357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EC8DD1-4AAC-49E2-A373-1C03C439C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A29DB36-4067-4D81-BA39-80FAF73D6B8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822400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879B1B0-D2DE-4D5E-914E-DD19078D7A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648000" y="1315200"/>
            <a:ext cx="3964800" cy="638400"/>
          </a:xfrm>
          <a:solidFill>
            <a:schemeClr val="bg2"/>
          </a:solidFill>
        </p:spPr>
        <p:txBody>
          <a:bodyPr lIns="144000" rIns="144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of box</a:t>
            </a:r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C9603618-8BAB-4FD9-8D88-D4EF68F5A465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3648000" y="1953600"/>
            <a:ext cx="3964800" cy="1296000"/>
          </a:xfrm>
          <a:solidFill>
            <a:srgbClr val="8A8A8F"/>
          </a:solidFill>
        </p:spPr>
        <p:txBody>
          <a:bodyPr lIns="144000" tIns="108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99806E2A-D267-4620-A076-EE247F49355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648000" y="3456000"/>
            <a:ext cx="3964800" cy="638400"/>
          </a:xfrm>
          <a:solidFill>
            <a:schemeClr val="tx2"/>
          </a:solidFill>
        </p:spPr>
        <p:txBody>
          <a:bodyPr lIns="144000" rIns="144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of box</a:t>
            </a:r>
          </a:p>
        </p:txBody>
      </p:sp>
      <p:sp>
        <p:nvSpPr>
          <p:cNvPr id="17" name="Picture Placeholder 29">
            <a:extLst>
              <a:ext uri="{FF2B5EF4-FFF2-40B4-BE49-F238E27FC236}">
                <a16:creationId xmlns:a16="http://schemas.microsoft.com/office/drawing/2014/main" id="{7A599AFC-DF66-4C53-9C93-44EC77358A09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3648000" y="4084800"/>
            <a:ext cx="3964800" cy="1296000"/>
          </a:xfrm>
          <a:solidFill>
            <a:srgbClr val="8A8A8F"/>
          </a:solidFill>
        </p:spPr>
        <p:txBody>
          <a:bodyPr lIns="144000" tIns="108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A1D692BB-3BB5-41E9-8F5F-5947B1A2E6E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783749" y="1315200"/>
            <a:ext cx="1900800" cy="638400"/>
          </a:xfrm>
          <a:solidFill>
            <a:schemeClr val="tx2"/>
          </a:solidFill>
        </p:spPr>
        <p:txBody>
          <a:bodyPr lIns="144000" rIns="144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of box</a:t>
            </a:r>
          </a:p>
        </p:txBody>
      </p:sp>
      <p:sp>
        <p:nvSpPr>
          <p:cNvPr id="19" name="Picture Placeholder 29">
            <a:extLst>
              <a:ext uri="{FF2B5EF4-FFF2-40B4-BE49-F238E27FC236}">
                <a16:creationId xmlns:a16="http://schemas.microsoft.com/office/drawing/2014/main" id="{BF4A2E49-1651-4469-BB42-DC7EB48002DB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7785600" y="1953600"/>
            <a:ext cx="1900800" cy="3427200"/>
          </a:xfrm>
          <a:solidFill>
            <a:srgbClr val="8A8A8F"/>
          </a:solidFill>
        </p:spPr>
        <p:txBody>
          <a:bodyPr lIns="144000" tIns="108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0" name="Text Placeholder 25">
            <a:extLst>
              <a:ext uri="{FF2B5EF4-FFF2-40B4-BE49-F238E27FC236}">
                <a16:creationId xmlns:a16="http://schemas.microsoft.com/office/drawing/2014/main" id="{111FD45B-4DD1-4E16-86F5-D1F83BDC2AA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855499" y="1315200"/>
            <a:ext cx="1900800" cy="638400"/>
          </a:xfrm>
          <a:solidFill>
            <a:schemeClr val="bg2"/>
          </a:solidFill>
          <a:ln>
            <a:noFill/>
          </a:ln>
        </p:spPr>
        <p:txBody>
          <a:bodyPr lIns="144000" rIns="144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of box</a:t>
            </a:r>
          </a:p>
        </p:txBody>
      </p:sp>
      <p:sp>
        <p:nvSpPr>
          <p:cNvPr id="21" name="Picture Placeholder 29">
            <a:extLst>
              <a:ext uri="{FF2B5EF4-FFF2-40B4-BE49-F238E27FC236}">
                <a16:creationId xmlns:a16="http://schemas.microsoft.com/office/drawing/2014/main" id="{37F1311B-DA96-4EA3-A646-EF2F39885CC4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9855499" y="1953600"/>
            <a:ext cx="1900800" cy="3427200"/>
          </a:xfrm>
          <a:solidFill>
            <a:srgbClr val="8A8A8F"/>
          </a:solidFill>
        </p:spPr>
        <p:txBody>
          <a:bodyPr lIns="144000" tIns="108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30D17560-F5B5-43D2-A202-2130492263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000936" y="6307200"/>
            <a:ext cx="759064" cy="365125"/>
          </a:xfrm>
        </p:spPr>
        <p:txBody>
          <a:bodyPr/>
          <a:lstStyle/>
          <a:p>
            <a:fld id="{09BEF1A8-9B64-487D-A71E-A91A639BCD5C}" type="datetime1">
              <a:rPr lang="en-GB" smtClean="0"/>
              <a:t>23/03/2023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376765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 Layout- Image &amp;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C9603618-8BAB-4FD9-8D88-D4EF68F5A465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3024000" y="0"/>
            <a:ext cx="4584000" cy="6859200"/>
          </a:xfrm>
          <a:solidFill>
            <a:srgbClr val="8A8A8F"/>
          </a:solidFill>
        </p:spPr>
        <p:txBody>
          <a:bodyPr lIns="144000" tIns="36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BB709E-AB63-4DA3-9B2B-0B6827FC0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3115BA-E869-42EF-9DC3-1C66FF357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EC8DD1-4AAC-49E2-A373-1C03C439C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A29DB36-4067-4D81-BA39-80FAF73D6B8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822400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879B1B0-D2DE-4D5E-914E-DD19078D7A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08000" y="0"/>
            <a:ext cx="4584000" cy="3451200"/>
          </a:xfrm>
          <a:solidFill>
            <a:schemeClr val="bg1"/>
          </a:solidFill>
        </p:spPr>
        <p:txBody>
          <a:bodyPr lIns="144000" rIns="144000" anchor="ctr"/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Title of box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99806E2A-D267-4620-A076-EE247F49355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608000" y="3412800"/>
            <a:ext cx="4584000" cy="3446400"/>
          </a:xfrm>
          <a:solidFill>
            <a:schemeClr val="bg2"/>
          </a:solidFill>
        </p:spPr>
        <p:txBody>
          <a:bodyPr lIns="144000" rIns="144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of box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550633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C9603618-8BAB-4FD9-8D88-D4EF68F5A465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3024000" y="0"/>
            <a:ext cx="6201600" cy="6859200"/>
          </a:xfrm>
          <a:solidFill>
            <a:srgbClr val="8A8A8F"/>
          </a:solidFill>
        </p:spPr>
        <p:txBody>
          <a:bodyPr lIns="144000" tIns="36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BB709E-AB63-4DA3-9B2B-0B6827FC0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3115BA-E869-42EF-9DC3-1C66FF357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EC8DD1-4AAC-49E2-A373-1C03C439C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A29DB36-4067-4D81-BA39-80FAF73D6B8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822400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99806E2A-D267-4620-A076-EE247F49355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235200" y="-1200"/>
            <a:ext cx="2956800" cy="6859200"/>
          </a:xfrm>
          <a:solidFill>
            <a:schemeClr val="tx2"/>
          </a:solidFill>
        </p:spPr>
        <p:txBody>
          <a:bodyPr lIns="144000" tIns="360000" rIns="144000" anchor="t" anchorCtr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3023526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Row- Text &amp; In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C9603618-8BAB-4FD9-8D88-D4EF68F5A465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5990400" y="0"/>
            <a:ext cx="6201600" cy="2184000"/>
          </a:xfrm>
          <a:solidFill>
            <a:srgbClr val="8A8A8F"/>
          </a:solidFill>
        </p:spPr>
        <p:txBody>
          <a:bodyPr lIns="36000" tIns="36000" rIns="36000" bIns="36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BB709E-AB63-4DA3-9B2B-0B6827FC0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3115BA-E869-42EF-9DC3-1C66FF357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EC8DD1-4AAC-49E2-A373-1C03C439C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A29DB36-4067-4D81-BA39-80FAF73D6B8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822400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99806E2A-D267-4620-A076-EE247F49355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024000" y="0"/>
            <a:ext cx="2956800" cy="2184000"/>
          </a:xfrm>
          <a:solidFill>
            <a:schemeClr val="tx2"/>
          </a:solidFill>
        </p:spPr>
        <p:txBody>
          <a:bodyPr lIns="36000" tIns="36000" rIns="36000" bIns="36000" anchor="ctr" anchorCtr="0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8" name="Picture Placeholder 29">
            <a:extLst>
              <a:ext uri="{FF2B5EF4-FFF2-40B4-BE49-F238E27FC236}">
                <a16:creationId xmlns:a16="http://schemas.microsoft.com/office/drawing/2014/main" id="{EBFA5408-0C90-41B1-8C93-068EB8F13486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5990400" y="4674000"/>
            <a:ext cx="6201600" cy="2184000"/>
          </a:xfrm>
          <a:solidFill>
            <a:srgbClr val="8A8A8F"/>
          </a:solidFill>
        </p:spPr>
        <p:txBody>
          <a:bodyPr lIns="36000" tIns="36000" rIns="36000" bIns="36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Picture Placeholder 29">
            <a:extLst>
              <a:ext uri="{FF2B5EF4-FFF2-40B4-BE49-F238E27FC236}">
                <a16:creationId xmlns:a16="http://schemas.microsoft.com/office/drawing/2014/main" id="{5CDE14EA-7326-4CE3-9E7E-B11F9CF77871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3024000" y="2337000"/>
            <a:ext cx="6201600" cy="2184000"/>
          </a:xfrm>
          <a:solidFill>
            <a:srgbClr val="8A8A8F"/>
          </a:solidFill>
        </p:spPr>
        <p:txBody>
          <a:bodyPr lIns="36000" tIns="36000" rIns="36000" bIns="36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25567A47-CB76-4E8E-862C-578E7552B23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235200" y="2337000"/>
            <a:ext cx="2956800" cy="2184000"/>
          </a:xfrm>
          <a:solidFill>
            <a:schemeClr val="bg2"/>
          </a:solidFill>
        </p:spPr>
        <p:txBody>
          <a:bodyPr lIns="36000" tIns="36000" rIns="36000" bIns="36000" anchor="ctr" anchorCtr="0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Text Placeholder 25">
            <a:extLst>
              <a:ext uri="{FF2B5EF4-FFF2-40B4-BE49-F238E27FC236}">
                <a16:creationId xmlns:a16="http://schemas.microsoft.com/office/drawing/2014/main" id="{F8E17EF7-6508-4CB6-AA2C-02283862D7C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024000" y="4674000"/>
            <a:ext cx="2956800" cy="2184000"/>
          </a:xfrm>
          <a:solidFill>
            <a:schemeClr val="tx2"/>
          </a:solidFill>
        </p:spPr>
        <p:txBody>
          <a:bodyPr lIns="36000" tIns="36000" rIns="36000" bIns="36000" anchor="ctr" anchorCtr="0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29077E4-7A9A-45A1-912B-C118C7291919}"/>
              </a:ext>
            </a:extLst>
          </p:cNvPr>
          <p:cNvGrpSpPr/>
          <p:nvPr userDrawn="1"/>
        </p:nvGrpSpPr>
        <p:grpSpPr>
          <a:xfrm>
            <a:off x="431801" y="311150"/>
            <a:ext cx="428348" cy="696421"/>
            <a:chOff x="-3513606" y="270529"/>
            <a:chExt cx="1671638" cy="2717801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AD311FFA-88BC-4B6D-87B5-B2ED8FE1E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1B824F8B-9AA9-4041-A875-9BCD0EA89D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617F150E-0C68-4BAA-8641-26D02112D0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429579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6933E-E17F-4B66-B4D5-DA383FF768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31094" y="0"/>
            <a:ext cx="9160905" cy="6858000"/>
          </a:xfrm>
          <a:solidFill>
            <a:srgbClr val="8A8A8F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10B49E-C956-4407-B999-F88F1FA6F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6B4624-DA49-4DF6-A561-977EFFDF4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346D7C4-096A-4546-981B-47B5DF66AA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0" y="4070400"/>
            <a:ext cx="2164800" cy="1920000"/>
          </a:xfrm>
        </p:spPr>
        <p:txBody>
          <a:bodyPr anchor="b" anchorCtr="0">
            <a:noAutofit/>
          </a:bodyPr>
          <a:lstStyle>
            <a:lvl1pPr>
              <a:defRPr sz="1067">
                <a:solidFill>
                  <a:srgbClr val="666666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BUSINESS STATEMENT: Insert mandatory statement, this can be copied and pasted from the markings summary slide. </a:t>
            </a:r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DBCF3A6C-3424-46D4-9092-264CD734E34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24717" y="4055533"/>
            <a:ext cx="9158400" cy="2802467"/>
          </a:xfrm>
          <a:solidFill>
            <a:schemeClr val="tx2"/>
          </a:solidFill>
        </p:spPr>
        <p:txBody>
          <a:bodyPr lIns="432000" tIns="180000" bIns="1908000">
            <a:noAutofit/>
          </a:bodyPr>
          <a:lstStyle>
            <a:lvl1pPr>
              <a:defRPr sz="37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0B840D-89AD-469A-9906-0384E3FD26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48000" y="4915200"/>
            <a:ext cx="8112000" cy="446400"/>
          </a:xfrm>
        </p:spPr>
        <p:txBody>
          <a:bodyPr>
            <a:noAutofit/>
          </a:bodyPr>
          <a:lstStyle>
            <a:lvl1pPr marL="0" indent="0" algn="l">
              <a:buNone/>
              <a:defRPr lang="en-US" sz="2667" kern="1200" dirty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Presentation sub-title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7E86416-DF3C-4150-A8E7-60289DFFAE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47017" y="5390400"/>
            <a:ext cx="8111067" cy="326400"/>
          </a:xfrm>
        </p:spPr>
        <p:txBody>
          <a:bodyPr>
            <a:no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uthor Name, Job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87897AC3-FB94-4825-8939-95C9C02349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48000" y="5764800"/>
            <a:ext cx="8111067" cy="326400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XXXX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9FCDBA-3B9B-4385-BED9-F418223EB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F937954-4F7C-4ECD-8EB3-81EAF41F8A8C}" type="datetime1">
              <a:rPr lang="en-GB" smtClean="0"/>
              <a:t>23/03/2023</a:t>
            </a:fld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7567FE7-2FAD-4166-944B-875038CD375F}"/>
              </a:ext>
            </a:extLst>
          </p:cNvPr>
          <p:cNvGrpSpPr/>
          <p:nvPr userDrawn="1"/>
        </p:nvGrpSpPr>
        <p:grpSpPr>
          <a:xfrm>
            <a:off x="1020974" y="2230120"/>
            <a:ext cx="959247" cy="1559573"/>
            <a:chOff x="-3513606" y="270529"/>
            <a:chExt cx="1671638" cy="2717801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43E968E-A60B-4169-B81A-0AC22E890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5B140CBC-BFAB-4960-B4B6-B0ACA67253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11E5321F-62B1-431D-9BC2-DA0F875063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41264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-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B64E928E-4B49-4612-90CF-70E01806213D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0" y="0"/>
            <a:ext cx="3984000" cy="3825600"/>
          </a:xfrm>
          <a:custGeom>
            <a:avLst/>
            <a:gdLst>
              <a:gd name="connsiteX0" fmla="*/ 362108 w 2988000"/>
              <a:gd name="connsiteY0" fmla="*/ 236413 h 2869200"/>
              <a:gd name="connsiteX1" fmla="*/ 326596 w 2988000"/>
              <a:gd name="connsiteY1" fmla="*/ 272310 h 2869200"/>
              <a:gd name="connsiteX2" fmla="*/ 326596 w 2988000"/>
              <a:gd name="connsiteY2" fmla="*/ 717340 h 2869200"/>
              <a:gd name="connsiteX3" fmla="*/ 362108 w 2988000"/>
              <a:gd name="connsiteY3" fmla="*/ 753237 h 2869200"/>
              <a:gd name="connsiteX4" fmla="*/ 607464 w 2988000"/>
              <a:gd name="connsiteY4" fmla="*/ 753237 h 2869200"/>
              <a:gd name="connsiteX5" fmla="*/ 642976 w 2988000"/>
              <a:gd name="connsiteY5" fmla="*/ 717340 h 2869200"/>
              <a:gd name="connsiteX6" fmla="*/ 642976 w 2988000"/>
              <a:gd name="connsiteY6" fmla="*/ 272310 h 2869200"/>
              <a:gd name="connsiteX7" fmla="*/ 607464 w 2988000"/>
              <a:gd name="connsiteY7" fmla="*/ 236413 h 2869200"/>
              <a:gd name="connsiteX8" fmla="*/ 362108 w 2988000"/>
              <a:gd name="connsiteY8" fmla="*/ 236413 h 2869200"/>
              <a:gd name="connsiteX9" fmla="*/ 0 w 2988000"/>
              <a:gd name="connsiteY9" fmla="*/ 0 h 2869200"/>
              <a:gd name="connsiteX10" fmla="*/ 2988000 w 2988000"/>
              <a:gd name="connsiteY10" fmla="*/ 0 h 2869200"/>
              <a:gd name="connsiteX11" fmla="*/ 2988000 w 2988000"/>
              <a:gd name="connsiteY11" fmla="*/ 2869200 h 2869200"/>
              <a:gd name="connsiteX12" fmla="*/ 0 w 2988000"/>
              <a:gd name="connsiteY12" fmla="*/ 2869200 h 286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988000" h="2869200">
                <a:moveTo>
                  <a:pt x="362108" y="236413"/>
                </a:moveTo>
                <a:cubicBezTo>
                  <a:pt x="342277" y="236413"/>
                  <a:pt x="326596" y="252521"/>
                  <a:pt x="326596" y="272310"/>
                </a:cubicBezTo>
                <a:lnTo>
                  <a:pt x="326596" y="717340"/>
                </a:lnTo>
                <a:cubicBezTo>
                  <a:pt x="326596" y="737129"/>
                  <a:pt x="342277" y="753237"/>
                  <a:pt x="362108" y="753237"/>
                </a:cubicBezTo>
                <a:cubicBezTo>
                  <a:pt x="362108" y="753237"/>
                  <a:pt x="362108" y="753237"/>
                  <a:pt x="607464" y="753237"/>
                </a:cubicBezTo>
                <a:cubicBezTo>
                  <a:pt x="626834" y="753237"/>
                  <a:pt x="642976" y="737129"/>
                  <a:pt x="642976" y="717340"/>
                </a:cubicBezTo>
                <a:cubicBezTo>
                  <a:pt x="642976" y="717340"/>
                  <a:pt x="642976" y="717340"/>
                  <a:pt x="642976" y="272310"/>
                </a:cubicBezTo>
                <a:cubicBezTo>
                  <a:pt x="642976" y="252521"/>
                  <a:pt x="626834" y="236413"/>
                  <a:pt x="607464" y="236413"/>
                </a:cubicBezTo>
                <a:cubicBezTo>
                  <a:pt x="607464" y="236413"/>
                  <a:pt x="607464" y="236413"/>
                  <a:pt x="362108" y="236413"/>
                </a:cubicBezTo>
                <a:close/>
                <a:moveTo>
                  <a:pt x="0" y="0"/>
                </a:moveTo>
                <a:lnTo>
                  <a:pt x="2988000" y="0"/>
                </a:lnTo>
                <a:lnTo>
                  <a:pt x="2988000" y="2869200"/>
                </a:lnTo>
                <a:lnTo>
                  <a:pt x="0" y="2869200"/>
                </a:lnTo>
                <a:close/>
              </a:path>
            </a:pathLst>
          </a:custGeom>
          <a:solidFill>
            <a:srgbClr val="8A8A8F"/>
          </a:solidFill>
        </p:spPr>
        <p:txBody>
          <a:bodyPr wrap="square" lIns="36000" tIns="36000" rIns="36000" bIns="36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Picture Placeholder 29">
            <a:extLst>
              <a:ext uri="{FF2B5EF4-FFF2-40B4-BE49-F238E27FC236}">
                <a16:creationId xmlns:a16="http://schemas.microsoft.com/office/drawing/2014/main" id="{476C4321-F18E-4265-B9ED-9D88EB824BD0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8208000" y="0"/>
            <a:ext cx="3984000" cy="3825600"/>
          </a:xfrm>
          <a:solidFill>
            <a:srgbClr val="8A8A8F"/>
          </a:solidFill>
        </p:spPr>
        <p:txBody>
          <a:bodyPr lIns="36000" tIns="36000" rIns="36000" bIns="36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9">
            <a:extLst>
              <a:ext uri="{FF2B5EF4-FFF2-40B4-BE49-F238E27FC236}">
                <a16:creationId xmlns:a16="http://schemas.microsoft.com/office/drawing/2014/main" id="{B58FFC04-A9D7-4D88-9249-9A17F717FC16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4104000" y="3032400"/>
            <a:ext cx="3984000" cy="3825600"/>
          </a:xfrm>
          <a:solidFill>
            <a:srgbClr val="8A8A8F"/>
          </a:solidFill>
        </p:spPr>
        <p:txBody>
          <a:bodyPr lIns="36000" tIns="36000" rIns="36000" bIns="36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A9C2E229-FA50-438E-B2F5-A7A9972465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3964800"/>
            <a:ext cx="3984000" cy="2894400"/>
          </a:xfrm>
          <a:solidFill>
            <a:schemeClr val="tx2"/>
          </a:solidFill>
        </p:spPr>
        <p:txBody>
          <a:bodyPr lIns="324000" tIns="288000">
            <a:normAutofit/>
          </a:bodyPr>
          <a:lstStyle>
            <a:lvl1pPr>
              <a:spcBef>
                <a:spcPts val="0"/>
              </a:spcBef>
              <a:spcAft>
                <a:spcPts val="1600"/>
              </a:spcAft>
              <a:defRPr sz="24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5C7ABC47-FFD6-4F04-B695-DEA9CD83F8F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104000" y="0"/>
            <a:ext cx="3984000" cy="2894400"/>
          </a:xfrm>
          <a:solidFill>
            <a:schemeClr val="bg2"/>
          </a:solidFill>
        </p:spPr>
        <p:txBody>
          <a:bodyPr lIns="324000" tIns="288000">
            <a:normAutofit/>
          </a:bodyPr>
          <a:lstStyle>
            <a:lvl1pPr>
              <a:spcBef>
                <a:spcPts val="0"/>
              </a:spcBef>
              <a:spcAft>
                <a:spcPts val="1600"/>
              </a:spcAft>
              <a:defRPr sz="24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23744238-95E8-480A-9810-91798B1E441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208000" y="3963600"/>
            <a:ext cx="3984000" cy="2894400"/>
          </a:xfrm>
          <a:solidFill>
            <a:srgbClr val="666666"/>
          </a:solidFill>
        </p:spPr>
        <p:txBody>
          <a:bodyPr lIns="324000" tIns="288000">
            <a:normAutofit/>
          </a:bodyPr>
          <a:lstStyle>
            <a:lvl1pPr>
              <a:spcBef>
                <a:spcPts val="0"/>
              </a:spcBef>
              <a:spcAft>
                <a:spcPts val="1600"/>
              </a:spcAft>
              <a:defRPr sz="24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3115BA-E869-42EF-9DC3-1C66FF357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EC8DD1-4AAC-49E2-A373-1C03C439C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A13E8BF-B882-4941-A5FE-E0EC5319AA34}"/>
              </a:ext>
            </a:extLst>
          </p:cNvPr>
          <p:cNvGrpSpPr/>
          <p:nvPr userDrawn="1"/>
        </p:nvGrpSpPr>
        <p:grpSpPr>
          <a:xfrm>
            <a:off x="431801" y="311150"/>
            <a:ext cx="428348" cy="696421"/>
            <a:chOff x="-3513606" y="270529"/>
            <a:chExt cx="1671638" cy="2717801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114D4CA-6CB6-4C03-9F0D-4E2DF438FEA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B185D224-BCF7-4287-A12F-4FC9F6CF5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FD57FFA-512F-4DA4-B449-DEB94AD6A4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2554074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-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01F258-8AC1-40B4-ABA2-E3E43CF4F1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4A5F56A-AE0E-4B15-B9F6-92BAFDD8FA79}" type="datetime1">
              <a:rPr lang="en-GB" smtClean="0"/>
              <a:t>23/03/2023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240D156-4E45-42D5-8918-97D1C377F84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627600"/>
            <a:ext cx="3984000" cy="3230400"/>
          </a:xfrm>
          <a:solidFill>
            <a:srgbClr val="8A8A8F"/>
          </a:solidFill>
        </p:spPr>
        <p:txBody>
          <a:bodyPr bIns="50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1B0D80DB-D4B5-4889-B3E2-A8FC04B672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04000" y="3627600"/>
            <a:ext cx="3984000" cy="3230400"/>
          </a:xfrm>
          <a:solidFill>
            <a:srgbClr val="8A8A8F"/>
          </a:solidFill>
        </p:spPr>
        <p:txBody>
          <a:bodyPr bIns="50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5A59C1C8-9ADA-433D-B71B-DA91960FEAF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08000" y="3627600"/>
            <a:ext cx="3984000" cy="3230400"/>
          </a:xfrm>
          <a:solidFill>
            <a:srgbClr val="8A8A8F"/>
          </a:solidFill>
        </p:spPr>
        <p:txBody>
          <a:bodyPr bIns="50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BF561B-367C-4ADE-AC3E-03D2FE3736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465E8E-8CA3-4002-911A-9BD3ED788E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A7606F6-7610-41AE-8DA9-3AE9A3B4D2E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08000" y="0"/>
            <a:ext cx="3984000" cy="3504000"/>
          </a:xfrm>
          <a:solidFill>
            <a:schemeClr val="bg2"/>
          </a:solidFill>
        </p:spPr>
        <p:txBody>
          <a:bodyPr lIns="324000"/>
          <a:lstStyle>
            <a:lvl1pPr>
              <a:defRPr sz="10666">
                <a:solidFill>
                  <a:schemeClr val="bg1"/>
                </a:solidFill>
                <a:latin typeface="RR Pioneer UltraLight Condensed" panose="020B0206030201060103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/>
              <a:t>xxx</a:t>
            </a:r>
          </a:p>
          <a:p>
            <a:pPr lvl="1"/>
            <a:r>
              <a:rPr lang="en-US"/>
              <a:t>Short copy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73FE0F1-574D-4724-AF1B-9BCB79C245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4000" y="0"/>
            <a:ext cx="3984000" cy="3504000"/>
          </a:xfrm>
          <a:solidFill>
            <a:schemeClr val="tx2"/>
          </a:solidFill>
        </p:spPr>
        <p:txBody>
          <a:bodyPr lIns="324000"/>
          <a:lstStyle>
            <a:lvl1pPr>
              <a:defRPr sz="10666">
                <a:solidFill>
                  <a:schemeClr val="bg1"/>
                </a:solidFill>
                <a:latin typeface="RR Pioneer UltraLight Condensed" panose="020B0206030201060103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/>
              <a:t>xxx</a:t>
            </a:r>
          </a:p>
          <a:p>
            <a:pPr lvl="1"/>
            <a:r>
              <a:rPr lang="en-US"/>
              <a:t>Short copy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943953AA-4694-4F86-AE35-6EDC29F01B7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3984000" cy="3504000"/>
          </a:xfrm>
          <a:solidFill>
            <a:srgbClr val="666666"/>
          </a:solidFill>
        </p:spPr>
        <p:txBody>
          <a:bodyPr lIns="324000" tIns="360000"/>
          <a:lstStyle>
            <a:lvl1pPr>
              <a:spcAft>
                <a:spcPts val="933"/>
              </a:spcAft>
              <a:defRPr sz="24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/>
              <a:t>Title of box </a:t>
            </a:r>
          </a:p>
          <a:p>
            <a:pPr lvl="1"/>
            <a:r>
              <a:rPr lang="en-US"/>
              <a:t>Short copy</a:t>
            </a:r>
          </a:p>
        </p:txBody>
      </p:sp>
    </p:spTree>
    <p:extLst>
      <p:ext uri="{BB962C8B-B14F-4D97-AF65-F5344CB8AC3E}">
        <p14:creationId xmlns:p14="http://schemas.microsoft.com/office/powerpoint/2010/main" val="356138304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Grid - Colb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9A40CE8-CAF2-422F-ABA8-294C14661C3F}"/>
              </a:ext>
            </a:extLst>
          </p:cNvPr>
          <p:cNvSpPr/>
          <p:nvPr userDrawn="1"/>
        </p:nvSpPr>
        <p:spPr>
          <a:xfrm>
            <a:off x="3024717" y="0"/>
            <a:ext cx="916728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60D508-9495-43E2-840E-FAF0FF2068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97C4CA-04FD-45B7-9A62-2D9B31299F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6DCD34-78AF-424A-A10B-8CBEC72D06A5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F5604-072F-40EC-8AF4-6D3FCB96B9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57B773-E4FE-4B72-B09A-CD4FE4C2B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DF8A76D-AFC8-41D5-9F98-1AE57025272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822400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83E536-B2B6-4AB3-BE81-CD9C4DFB76E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352479" y="5245200"/>
            <a:ext cx="2184000" cy="1612800"/>
          </a:xfrm>
          <a:solidFill>
            <a:schemeClr val="tx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ADF8213-F38F-4375-9761-8E9C55E197D6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3024717" y="52452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82CD08F-5B02-418C-8C46-EE4367FA9D7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08000" y="5245200"/>
            <a:ext cx="2184000" cy="1612800"/>
          </a:xfrm>
          <a:solidFill>
            <a:schemeClr val="tx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77477AAC-B2A4-49D1-891A-755A2F87CF7A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7680240" y="52452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A3239B9-8F4F-4277-8FF7-1C823513C148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024717" y="3496800"/>
            <a:ext cx="2184000" cy="1612800"/>
          </a:xfrm>
          <a:solidFill>
            <a:schemeClr val="tx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98DE704E-239C-40A8-8462-23717F73A3F1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5352479" y="34968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BB5FF2-7702-41E8-881B-235D2FA8DE2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680240" y="3496800"/>
            <a:ext cx="2184000" cy="1612800"/>
          </a:xfrm>
          <a:solidFill>
            <a:schemeClr val="tx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0DB92E4B-5085-4AB3-A2A5-F765BFF1BFED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10008000" y="34968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028DC79D-74EE-4881-9271-CF7A5BD8E7C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352479" y="1748400"/>
            <a:ext cx="2184000" cy="1612800"/>
          </a:xfrm>
          <a:solidFill>
            <a:schemeClr val="tx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Picture Placeholder 10">
            <a:extLst>
              <a:ext uri="{FF2B5EF4-FFF2-40B4-BE49-F238E27FC236}">
                <a16:creationId xmlns:a16="http://schemas.microsoft.com/office/drawing/2014/main" id="{65A75B1C-397A-49AF-AF96-317368B258A7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3024717" y="17484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8E2D7BD9-A127-45E8-80A7-532666BE5E3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008000" y="1748400"/>
            <a:ext cx="2184000" cy="1612800"/>
          </a:xfrm>
          <a:solidFill>
            <a:schemeClr val="tx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Picture Placeholder 10">
            <a:extLst>
              <a:ext uri="{FF2B5EF4-FFF2-40B4-BE49-F238E27FC236}">
                <a16:creationId xmlns:a16="http://schemas.microsoft.com/office/drawing/2014/main" id="{52B73AE7-9807-4BCF-8A76-9D3A02260105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7680240" y="17484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F7480620-A5F6-4BA4-A388-6F24F3ADCFA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024717" y="0"/>
            <a:ext cx="2184000" cy="1612800"/>
          </a:xfrm>
          <a:solidFill>
            <a:schemeClr val="tx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Picture Placeholder 10">
            <a:extLst>
              <a:ext uri="{FF2B5EF4-FFF2-40B4-BE49-F238E27FC236}">
                <a16:creationId xmlns:a16="http://schemas.microsoft.com/office/drawing/2014/main" id="{9AE7B1C6-DC0C-4879-98F2-878553271E3D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5352479" y="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279A2CB4-4269-45ED-8E69-D96F9EBC329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680240" y="0"/>
            <a:ext cx="2184000" cy="1612800"/>
          </a:xfrm>
          <a:solidFill>
            <a:schemeClr val="tx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10">
            <a:extLst>
              <a:ext uri="{FF2B5EF4-FFF2-40B4-BE49-F238E27FC236}">
                <a16:creationId xmlns:a16="http://schemas.microsoft.com/office/drawing/2014/main" id="{04651492-9A4F-4DE3-BF73-2D48A3C0D6DC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10008000" y="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723034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Grid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9A40CE8-CAF2-422F-ABA8-294C14661C3F}"/>
              </a:ext>
            </a:extLst>
          </p:cNvPr>
          <p:cNvSpPr/>
          <p:nvPr userDrawn="1"/>
        </p:nvSpPr>
        <p:spPr>
          <a:xfrm>
            <a:off x="3024717" y="0"/>
            <a:ext cx="916728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60D508-9495-43E2-840E-FAF0FF2068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97C4CA-04FD-45B7-9A62-2D9B31299F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BEB12FA-01A4-4538-8382-927653F000A3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F5604-072F-40EC-8AF4-6D3FCB96B9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57B773-E4FE-4B72-B09A-CD4FE4C2B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DF8A76D-AFC8-41D5-9F98-1AE57025272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822400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83E536-B2B6-4AB3-BE81-CD9C4DFB76E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352479" y="5245200"/>
            <a:ext cx="2184000" cy="1612800"/>
          </a:xfrm>
          <a:solidFill>
            <a:schemeClr val="accent3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ADF8213-F38F-4375-9761-8E9C55E197D6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3024717" y="52452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82CD08F-5B02-418C-8C46-EE4367FA9D7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08000" y="5245200"/>
            <a:ext cx="2184000" cy="1612800"/>
          </a:xfrm>
          <a:solidFill>
            <a:schemeClr val="accent3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77477AAC-B2A4-49D1-891A-755A2F87CF7A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7680240" y="52452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A3239B9-8F4F-4277-8FF7-1C823513C148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024717" y="3496800"/>
            <a:ext cx="2184000" cy="1612800"/>
          </a:xfrm>
          <a:solidFill>
            <a:schemeClr val="accent3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98DE704E-239C-40A8-8462-23717F73A3F1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5352479" y="34968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BB5FF2-7702-41E8-881B-235D2FA8DE2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680240" y="3496800"/>
            <a:ext cx="2184000" cy="1612800"/>
          </a:xfrm>
          <a:solidFill>
            <a:schemeClr val="accent3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0DB92E4B-5085-4AB3-A2A5-F765BFF1BFED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10008000" y="34968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028DC79D-74EE-4881-9271-CF7A5BD8E7C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352479" y="1748400"/>
            <a:ext cx="2184000" cy="1612800"/>
          </a:xfrm>
          <a:solidFill>
            <a:schemeClr val="accent3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Picture Placeholder 10">
            <a:extLst>
              <a:ext uri="{FF2B5EF4-FFF2-40B4-BE49-F238E27FC236}">
                <a16:creationId xmlns:a16="http://schemas.microsoft.com/office/drawing/2014/main" id="{65A75B1C-397A-49AF-AF96-317368B258A7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3024717" y="17484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8E2D7BD9-A127-45E8-80A7-532666BE5E3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008000" y="1748400"/>
            <a:ext cx="2184000" cy="1612800"/>
          </a:xfrm>
          <a:solidFill>
            <a:schemeClr val="accent3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Picture Placeholder 10">
            <a:extLst>
              <a:ext uri="{FF2B5EF4-FFF2-40B4-BE49-F238E27FC236}">
                <a16:creationId xmlns:a16="http://schemas.microsoft.com/office/drawing/2014/main" id="{52B73AE7-9807-4BCF-8A76-9D3A02260105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7680240" y="17484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F7480620-A5F6-4BA4-A388-6F24F3ADCFA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024717" y="0"/>
            <a:ext cx="2184000" cy="1612800"/>
          </a:xfrm>
          <a:solidFill>
            <a:schemeClr val="accent3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Picture Placeholder 10">
            <a:extLst>
              <a:ext uri="{FF2B5EF4-FFF2-40B4-BE49-F238E27FC236}">
                <a16:creationId xmlns:a16="http://schemas.microsoft.com/office/drawing/2014/main" id="{9AE7B1C6-DC0C-4879-98F2-878553271E3D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5352479" y="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279A2CB4-4269-45ED-8E69-D96F9EBC329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680240" y="0"/>
            <a:ext cx="2184000" cy="1612800"/>
          </a:xfrm>
          <a:solidFill>
            <a:schemeClr val="accent3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10">
            <a:extLst>
              <a:ext uri="{FF2B5EF4-FFF2-40B4-BE49-F238E27FC236}">
                <a16:creationId xmlns:a16="http://schemas.microsoft.com/office/drawing/2014/main" id="{04651492-9A4F-4DE3-BF73-2D48A3C0D6DC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10008000" y="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04502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Grid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9A40CE8-CAF2-422F-ABA8-294C14661C3F}"/>
              </a:ext>
            </a:extLst>
          </p:cNvPr>
          <p:cNvSpPr/>
          <p:nvPr userDrawn="1"/>
        </p:nvSpPr>
        <p:spPr>
          <a:xfrm>
            <a:off x="3024717" y="0"/>
            <a:ext cx="916728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60D508-9495-43E2-840E-FAF0FF2068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97C4CA-04FD-45B7-9A62-2D9B31299F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B0F9A7-0EBB-4503-8572-DEC5C7CC330E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F5604-072F-40EC-8AF4-6D3FCB96B9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57B773-E4FE-4B72-B09A-CD4FE4C2B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DF8A76D-AFC8-41D5-9F98-1AE57025272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822400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83E536-B2B6-4AB3-BE81-CD9C4DFB76E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352479" y="5245200"/>
            <a:ext cx="2184000" cy="1612800"/>
          </a:xfrm>
          <a:solidFill>
            <a:schemeClr val="bg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ADF8213-F38F-4375-9761-8E9C55E197D6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3024717" y="52452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82CD08F-5B02-418C-8C46-EE4367FA9D7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08000" y="5245200"/>
            <a:ext cx="2184000" cy="1612800"/>
          </a:xfrm>
          <a:solidFill>
            <a:schemeClr val="bg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77477AAC-B2A4-49D1-891A-755A2F87CF7A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7680240" y="52452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A3239B9-8F4F-4277-8FF7-1C823513C148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024717" y="3496800"/>
            <a:ext cx="2184000" cy="1612800"/>
          </a:xfrm>
          <a:solidFill>
            <a:schemeClr val="bg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98DE704E-239C-40A8-8462-23717F73A3F1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5352479" y="34968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BB5FF2-7702-41E8-881B-235D2FA8DE2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680240" y="3496800"/>
            <a:ext cx="2184000" cy="1612800"/>
          </a:xfrm>
          <a:solidFill>
            <a:schemeClr val="bg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0DB92E4B-5085-4AB3-A2A5-F765BFF1BFED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10008000" y="34968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028DC79D-74EE-4881-9271-CF7A5BD8E7C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352479" y="1748400"/>
            <a:ext cx="2184000" cy="1612800"/>
          </a:xfrm>
          <a:solidFill>
            <a:schemeClr val="bg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9" name="Picture Placeholder 10">
            <a:extLst>
              <a:ext uri="{FF2B5EF4-FFF2-40B4-BE49-F238E27FC236}">
                <a16:creationId xmlns:a16="http://schemas.microsoft.com/office/drawing/2014/main" id="{65A75B1C-397A-49AF-AF96-317368B258A7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3024717" y="17484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8E2D7BD9-A127-45E8-80A7-532666BE5E3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008000" y="1748400"/>
            <a:ext cx="2184000" cy="1612800"/>
          </a:xfrm>
          <a:solidFill>
            <a:schemeClr val="bg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21" name="Picture Placeholder 10">
            <a:extLst>
              <a:ext uri="{FF2B5EF4-FFF2-40B4-BE49-F238E27FC236}">
                <a16:creationId xmlns:a16="http://schemas.microsoft.com/office/drawing/2014/main" id="{52B73AE7-9807-4BCF-8A76-9D3A02260105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7680240" y="17484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F7480620-A5F6-4BA4-A388-6F24F3ADCFA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024717" y="0"/>
            <a:ext cx="2184000" cy="1612800"/>
          </a:xfrm>
          <a:solidFill>
            <a:schemeClr val="bg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23" name="Picture Placeholder 10">
            <a:extLst>
              <a:ext uri="{FF2B5EF4-FFF2-40B4-BE49-F238E27FC236}">
                <a16:creationId xmlns:a16="http://schemas.microsoft.com/office/drawing/2014/main" id="{9AE7B1C6-DC0C-4879-98F2-878553271E3D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5352479" y="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279A2CB4-4269-45ED-8E69-D96F9EBC329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680240" y="0"/>
            <a:ext cx="2184000" cy="1612800"/>
          </a:xfrm>
          <a:solidFill>
            <a:schemeClr val="bg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25" name="Picture Placeholder 10">
            <a:extLst>
              <a:ext uri="{FF2B5EF4-FFF2-40B4-BE49-F238E27FC236}">
                <a16:creationId xmlns:a16="http://schemas.microsoft.com/office/drawing/2014/main" id="{04651492-9A4F-4DE3-BF73-2D48A3C0D6DC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10008000" y="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55529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DB56A04C-E4A5-40F3-9668-78022E96CBAE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0" y="0"/>
            <a:ext cx="12192000" cy="6858000"/>
          </a:xfrm>
          <a:solidFill>
            <a:srgbClr val="8A8A8F"/>
          </a:solidFill>
        </p:spPr>
        <p:txBody>
          <a:bodyPr bIns="648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video by clicking the ic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93B564F-1708-4BB9-BF64-438486BE9A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F177C8-4FA0-4C76-91E9-7619629DA1C3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5DCC5B-4086-4ACA-91D6-0287B376A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E7C3A86-C141-4976-908C-C4C78B7C4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342922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lte, Subtitle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57BD6F0-E65B-40FB-A6B0-99AADA93DD53}"/>
              </a:ext>
            </a:extLst>
          </p:cNvPr>
          <p:cNvSpPr/>
          <p:nvPr userDrawn="1"/>
        </p:nvSpPr>
        <p:spPr>
          <a:xfrm>
            <a:off x="3024717" y="0"/>
            <a:ext cx="916728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1E0BB1-14CD-4110-8446-A161FC1EC3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0F3C3D-8F9E-4BFB-8978-75648D7AA8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9C4925B-6210-4311-9D3F-BCA2FE49D32C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B9991A-4B1A-43A7-8F6E-C0B41E40B2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B65A3A-2EF3-4EB5-8345-0CA07D459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0A7910FC-12D1-4882-A085-8E9EEA95DCA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822400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1947A44-802F-4BE4-AC21-8DC65877378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647018" y="1316566"/>
            <a:ext cx="8113183" cy="4083433"/>
          </a:xfrm>
        </p:spPr>
        <p:txBody>
          <a:bodyPr>
            <a:normAutofit/>
          </a:bodyPr>
          <a:lstStyle>
            <a:lvl1pPr>
              <a:defRPr sz="2667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mphasis or quote with descriptio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184FE39-5C2E-4DB0-9003-91E27BF84B6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647018" y="5611285"/>
            <a:ext cx="8113183" cy="554567"/>
          </a:xfrm>
        </p:spPr>
        <p:txBody>
          <a:bodyPr>
            <a:normAutofit/>
          </a:bodyPr>
          <a:lstStyle>
            <a:lvl1pPr>
              <a:defRPr sz="1600">
                <a:solidFill>
                  <a:srgbClr val="4F98FF"/>
                </a:solidFill>
              </a:defRPr>
            </a:lvl1pPr>
            <a:lvl2pPr marL="0" indent="0">
              <a:buNone/>
              <a:defRPr sz="1600">
                <a:solidFill>
                  <a:srgbClr val="4F98FF"/>
                </a:solidFill>
              </a:defRPr>
            </a:lvl2pPr>
          </a:lstStyle>
          <a:p>
            <a:pPr lvl="0"/>
            <a:r>
              <a:rPr lang="en-US" err="1"/>
              <a:t>Attributee</a:t>
            </a:r>
            <a:r>
              <a:rPr lang="en-US"/>
              <a:t>/ source</a:t>
            </a:r>
          </a:p>
          <a:p>
            <a:pPr lvl="1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47701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57BD6F0-E65B-40FB-A6B0-99AADA93DD53}"/>
              </a:ext>
            </a:extLst>
          </p:cNvPr>
          <p:cNvSpPr/>
          <p:nvPr userDrawn="1"/>
        </p:nvSpPr>
        <p:spPr>
          <a:xfrm>
            <a:off x="3024717" y="0"/>
            <a:ext cx="9167283" cy="40464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1E0BB1-14CD-4110-8446-A161FC1EC3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0F3C3D-8F9E-4BFB-8978-75648D7AA8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66666"/>
                </a:solidFill>
              </a:defRPr>
            </a:lvl1pPr>
          </a:lstStyle>
          <a:p>
            <a:fld id="{DEEE5586-05C9-4C10-8A7B-A3A51521273C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B9991A-4B1A-43A7-8F6E-C0B41E40B2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B65A3A-2EF3-4EB5-8345-0CA07D459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0A7910FC-12D1-4882-A085-8E9EEA95DCA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822400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1947A44-802F-4BE4-AC21-8DC65877378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647018" y="1316565"/>
            <a:ext cx="8113183" cy="1440000"/>
          </a:xfrm>
        </p:spPr>
        <p:txBody>
          <a:bodyPr>
            <a:normAutofit/>
          </a:bodyPr>
          <a:lstStyle>
            <a:lvl1pPr>
              <a:defRPr sz="2667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mphasis or quote with descriptio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184FE39-5C2E-4DB0-9003-91E27BF84B6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647018" y="2908477"/>
            <a:ext cx="8113183" cy="806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4F98FF"/>
                </a:solidFill>
              </a:defRPr>
            </a:lvl1pPr>
            <a:lvl2pPr marL="0" indent="0">
              <a:buNone/>
              <a:defRPr sz="1600">
                <a:solidFill>
                  <a:srgbClr val="4F98FF"/>
                </a:solidFill>
              </a:defRPr>
            </a:lvl2pPr>
          </a:lstStyle>
          <a:p>
            <a:pPr lvl="0"/>
            <a:r>
              <a:rPr lang="en-US" err="1"/>
              <a:t>Attributee</a:t>
            </a:r>
            <a:r>
              <a:rPr lang="en-US"/>
              <a:t>/ source</a:t>
            </a:r>
          </a:p>
          <a:p>
            <a:pPr lvl="1"/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8C8987-4131-4FBB-8271-0CDDA04E9FC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647018" y="4303184"/>
            <a:ext cx="8113183" cy="868800"/>
          </a:xfrm>
        </p:spPr>
        <p:txBody>
          <a:bodyPr>
            <a:normAutofit/>
          </a:bodyPr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mphasis or quote with description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1498733-E174-4064-9AD2-1D795DD9249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647018" y="5313600"/>
            <a:ext cx="8113183" cy="806400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err="1"/>
              <a:t>Attributee</a:t>
            </a:r>
            <a:r>
              <a:rPr lang="en-US"/>
              <a:t>/ source</a:t>
            </a:r>
          </a:p>
        </p:txBody>
      </p:sp>
    </p:spTree>
    <p:extLst>
      <p:ext uri="{BB962C8B-B14F-4D97-AF65-F5344CB8AC3E}">
        <p14:creationId xmlns:p14="http://schemas.microsoft.com/office/powerpoint/2010/main" val="24778017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&amp; Statement -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A98BA6D-E7C8-4EE9-B3A0-67F6392EEA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RR Pioneer" panose="020B0503050201040103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B8D397C-A84F-4549-B3BE-7BDB0C55426B}"/>
              </a:ext>
            </a:extLst>
          </p:cNvPr>
          <p:cNvSpPr/>
          <p:nvPr userDrawn="1"/>
        </p:nvSpPr>
        <p:spPr>
          <a:xfrm>
            <a:off x="0" y="0"/>
            <a:ext cx="12192000" cy="4099728"/>
          </a:xfrm>
          <a:prstGeom prst="rect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>
              <a:latin typeface="RR Pioneer" panose="020B05030502010401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C80C2-2E6C-41EC-BE2A-1E46F50519B5}"/>
              </a:ext>
            </a:extLst>
          </p:cNvPr>
          <p:cNvSpPr>
            <a:spLocks noGrp="1"/>
          </p:cNvSpPr>
          <p:nvPr userDrawn="1">
            <p:ph type="dt" sz="half" idx="10"/>
          </p:nvPr>
        </p:nvSpPr>
        <p:spPr/>
        <p:txBody>
          <a:bodyPr/>
          <a:lstStyle/>
          <a:p>
            <a:fld id="{DD5F0064-DABC-4729-9EA8-8B60264F813B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069E08-386A-42EE-8383-8D69F6273331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AED9DA-7609-4503-A270-4035D41ABEB7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26B1602-E7F5-4CA8-BD50-1B77547A9E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40000" y="1316567"/>
            <a:ext cx="8112000" cy="1440000"/>
          </a:xfrm>
        </p:spPr>
        <p:txBody>
          <a:bodyPr>
            <a:normAutofit/>
          </a:bodyPr>
          <a:lstStyle>
            <a:lvl1pPr>
              <a:defRPr sz="2667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mphasis or quote with description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1309D30E-C228-4845-AFCC-25E3BF6D962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2040001" y="2884800"/>
            <a:ext cx="8113183" cy="806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4F98FF"/>
                </a:solidFill>
              </a:defRPr>
            </a:lvl1pPr>
            <a:lvl2pPr marL="0" indent="0">
              <a:buNone/>
              <a:defRPr sz="1600">
                <a:solidFill>
                  <a:srgbClr val="4F98FF"/>
                </a:solidFill>
              </a:defRPr>
            </a:lvl2pPr>
          </a:lstStyle>
          <a:p>
            <a:pPr lvl="0"/>
            <a:r>
              <a:rPr lang="en-US" err="1"/>
              <a:t>Attributee</a:t>
            </a:r>
            <a:r>
              <a:rPr lang="en-US"/>
              <a:t>/ source</a:t>
            </a:r>
          </a:p>
          <a:p>
            <a:pPr lvl="1"/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87C35724-695E-4AEA-B299-D849E06730E6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2040000" y="4315200"/>
            <a:ext cx="8112000" cy="868800"/>
          </a:xfrm>
        </p:spPr>
        <p:txBody>
          <a:bodyPr>
            <a:normAutofit/>
          </a:bodyPr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mphasis or quote with description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3DFE1746-274F-42F4-BF60-08561130DC47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040000" y="5313600"/>
            <a:ext cx="8112000" cy="806400"/>
          </a:xfrm>
        </p:spPr>
        <p:txBody>
          <a:bodyPr>
            <a:normAutofit/>
          </a:bodyPr>
          <a:lstStyle>
            <a:lvl1pPr>
              <a:defRPr sz="1600">
                <a:solidFill>
                  <a:srgbClr val="4F98FF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err="1"/>
              <a:t>Attributee</a:t>
            </a:r>
            <a:r>
              <a:rPr lang="en-US"/>
              <a:t>/ sourc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2211E6DE-C0AE-44F4-9823-73CBD64676B2}"/>
              </a:ext>
            </a:extLst>
          </p:cNvPr>
          <p:cNvGrpSpPr/>
          <p:nvPr userDrawn="1"/>
        </p:nvGrpSpPr>
        <p:grpSpPr>
          <a:xfrm>
            <a:off x="431801" y="311150"/>
            <a:ext cx="428348" cy="696421"/>
            <a:chOff x="-3513606" y="270529"/>
            <a:chExt cx="1671638" cy="2717801"/>
          </a:xfrm>
        </p:grpSpPr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9697FB02-C1AA-4AF0-8C5B-BC76AE159EB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Freeform 6">
              <a:extLst>
                <a:ext uri="{FF2B5EF4-FFF2-40B4-BE49-F238E27FC236}">
                  <a16:creationId xmlns:a16="http://schemas.microsoft.com/office/drawing/2014/main" id="{1ED76835-AACF-4D22-BB9D-53917C14A05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485F73FD-7CBE-40A8-AD29-215067971D2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99129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Layout - Til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A75EBFE-964E-4DA8-81BB-6F0601C086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>
              <a:latin typeface="RR Pioneer" panose="020B05030502010401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4D45039-F903-4574-A6B7-8457F81F6953}"/>
              </a:ext>
            </a:extLst>
          </p:cNvPr>
          <p:cNvSpPr/>
          <p:nvPr userDrawn="1"/>
        </p:nvSpPr>
        <p:spPr>
          <a:xfrm>
            <a:off x="1" y="1"/>
            <a:ext cx="12192000" cy="5397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>
              <a:latin typeface="RR Pioneer" panose="020B05030502010401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D9EBB6-6E60-4CA5-8357-6D7EC52AA6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AA051-9B2B-4E24-9D57-717E6307658D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A3AD2E-41EE-4067-A845-2F32AB57C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175720-87E1-4F51-95F1-F7561C7A5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D0FB40C-46FA-4EF4-B44D-AAC36CFA98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4329600"/>
            <a:ext cx="1425600" cy="820800"/>
          </a:xfrm>
        </p:spPr>
        <p:txBody>
          <a:bodyPr/>
          <a:lstStyle>
            <a:lvl1pPr>
              <a:defRPr sz="1067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ountry name</a:t>
            </a:r>
          </a:p>
          <a:p>
            <a:pPr lvl="1"/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F26D659-2D09-4BBD-98E2-9893B3A2F8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2400" y="5721600"/>
            <a:ext cx="5548800" cy="441600"/>
          </a:xfrm>
        </p:spPr>
        <p:txBody>
          <a:bodyPr>
            <a:normAutofit/>
          </a:bodyPr>
          <a:lstStyle>
            <a:lvl1pPr>
              <a:defRPr sz="2133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F5C680C-3812-4D9D-AF47-92E6645B56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72800" y="5721600"/>
            <a:ext cx="5592000" cy="441600"/>
          </a:xfrm>
        </p:spPr>
        <p:txBody>
          <a:bodyPr>
            <a:normAutofit/>
          </a:bodyPr>
          <a:lstStyle>
            <a:lvl1pPr>
              <a:defRPr sz="1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Body text</a:t>
            </a: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9605A82-1304-4ED2-B22F-5ABA6AA54334}"/>
              </a:ext>
            </a:extLst>
          </p:cNvPr>
          <p:cNvGrpSpPr/>
          <p:nvPr userDrawn="1"/>
        </p:nvGrpSpPr>
        <p:grpSpPr>
          <a:xfrm>
            <a:off x="431801" y="311150"/>
            <a:ext cx="428348" cy="696421"/>
            <a:chOff x="-3513606" y="270529"/>
            <a:chExt cx="1671638" cy="2717801"/>
          </a:xfrm>
        </p:grpSpPr>
        <p:sp>
          <p:nvSpPr>
            <p:cNvPr id="19" name="Freeform 5">
              <a:extLst>
                <a:ext uri="{FF2B5EF4-FFF2-40B4-BE49-F238E27FC236}">
                  <a16:creationId xmlns:a16="http://schemas.microsoft.com/office/drawing/2014/main" id="{61D79A52-73E3-402A-AC2F-1B148400891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B96250AB-43D7-479B-AB50-FD80DBE4D0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5D7C17A3-ED10-45F2-B2A4-AEA1CFCCE7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84669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- Colbal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E3273D-D190-43EA-AB9F-F4E0C3DE2A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600" y="1243200"/>
            <a:ext cx="2404800" cy="2188800"/>
          </a:xfrm>
        </p:spPr>
        <p:txBody>
          <a:bodyPr anchor="ctr" anchorCtr="0">
            <a:noAutofit/>
          </a:bodyPr>
          <a:lstStyle>
            <a:lvl1pPr algn="r">
              <a:defRPr sz="14666">
                <a:solidFill>
                  <a:schemeClr val="bg1"/>
                </a:solidFill>
                <a:latin typeface="RR Pioneer UltraLight Condensed" panose="020B0206030201060103" pitchFamily="34" charset="0"/>
              </a:defRPr>
            </a:lvl1pPr>
          </a:lstStyle>
          <a:p>
            <a:r>
              <a:rPr lang="en-US"/>
              <a:t>XX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AD4DAF-CD34-4819-9611-33C813C52E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2F2C86-5AB9-4F6D-B120-A180F3D5D0B7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D09A4-D7CF-4D1D-8376-A6317B2D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87183-9305-4CC7-88E3-CD4694340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AABB29-22AC-4C62-A174-9E5A0A1EFA21}"/>
              </a:ext>
            </a:extLst>
          </p:cNvPr>
          <p:cNvSpPr/>
          <p:nvPr userDrawn="1"/>
        </p:nvSpPr>
        <p:spPr>
          <a:xfrm>
            <a:off x="431800" y="1222000"/>
            <a:ext cx="2772493" cy="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>
              <a:latin typeface="RR Pioneer" panose="020B0503050201040103" pitchFamily="34" charset="0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0021B20-6F0E-4481-874A-F21AE9FD3CC4}"/>
              </a:ext>
            </a:extLst>
          </p:cNvPr>
          <p:cNvSpPr/>
          <p:nvPr userDrawn="1"/>
        </p:nvSpPr>
        <p:spPr>
          <a:xfrm>
            <a:off x="4078816" y="1222000"/>
            <a:ext cx="7681384" cy="10160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>
              <a:latin typeface="RR Pioneer" panose="020B0503050201040103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DA88272-0989-4751-9FC4-6BE74AD9E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94400" y="1502401"/>
            <a:ext cx="7665600" cy="1924800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4267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1EF98E9-3947-4FA3-929D-B815CFDD5A3E}"/>
              </a:ext>
            </a:extLst>
          </p:cNvPr>
          <p:cNvGrpSpPr/>
          <p:nvPr userDrawn="1"/>
        </p:nvGrpSpPr>
        <p:grpSpPr>
          <a:xfrm>
            <a:off x="431801" y="311150"/>
            <a:ext cx="428348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ECAF427-7230-413A-854B-353596E685C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FF55E566-BBF5-41D1-9A04-C8E8ACB413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27B2CF71-3A49-4D8B-93BD-98759F7760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06719860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&amp;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37DC009-70F6-4F24-9A70-D8783A7F9A2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E42DB91-F56E-44CE-95AC-6C9B5FB8D7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B1E875-A783-4FF8-82C9-B4CDED3AD2D9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A82683-CCED-4B80-AB8A-FFAACD4977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9983FAC-3460-47FC-A354-50D4574E33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5FFEC487-41AD-4CDB-8179-89EEC7B85F45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647018" y="1316565"/>
            <a:ext cx="8113183" cy="3177600"/>
          </a:xfrm>
        </p:spPr>
        <p:txBody>
          <a:bodyPr>
            <a:normAutofit/>
          </a:bodyPr>
          <a:lstStyle>
            <a:lvl1pPr>
              <a:defRPr sz="2667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mphasis or quote with description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4CE5A45B-CB90-430B-AF44-54A22E1DE44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647018" y="4838401"/>
            <a:ext cx="8113183" cy="554567"/>
          </a:xfrm>
        </p:spPr>
        <p:txBody>
          <a:bodyPr>
            <a:normAutofit/>
          </a:bodyPr>
          <a:lstStyle>
            <a:lvl1pPr>
              <a:defRPr sz="1600">
                <a:solidFill>
                  <a:srgbClr val="4F98FF"/>
                </a:solidFill>
              </a:defRPr>
            </a:lvl1pPr>
            <a:lvl2pPr marL="0" indent="0">
              <a:buNone/>
              <a:defRPr sz="1600">
                <a:solidFill>
                  <a:srgbClr val="4F98FF"/>
                </a:solidFill>
              </a:defRPr>
            </a:lvl2pPr>
          </a:lstStyle>
          <a:p>
            <a:pPr lvl="0"/>
            <a:r>
              <a:rPr lang="en-US" err="1"/>
              <a:t>Attributee</a:t>
            </a:r>
            <a:r>
              <a:rPr lang="en-US"/>
              <a:t>/ source</a:t>
            </a:r>
          </a:p>
          <a:p>
            <a:pPr lvl="1"/>
            <a:endParaRPr lang="en-GB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976E39A-C8B9-4711-A08E-9ABF2477D189}"/>
              </a:ext>
            </a:extLst>
          </p:cNvPr>
          <p:cNvGrpSpPr/>
          <p:nvPr userDrawn="1"/>
        </p:nvGrpSpPr>
        <p:grpSpPr>
          <a:xfrm>
            <a:off x="431801" y="311150"/>
            <a:ext cx="428348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041FB2D3-51A0-4DFD-A09B-DB65531DA53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A8DDCA9-A25A-4C99-9E34-1EF7028FF5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D99B5AC-2ED2-407F-8377-6BE6BC12A8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2833675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, Q&amp;A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A75EBFE-964E-4DA8-81BB-6F0601C086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>
              <a:latin typeface="RR Pioneer" panose="020B05030502010401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4D45039-F903-4574-A6B7-8457F81F6953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>
              <a:latin typeface="RR Pioneer" panose="020B05030502010401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D9EBB6-6E60-4CA5-8357-6D7EC52AA6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AA2C02-E3EF-4D11-8BF8-B412428C2576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7A3AD2E-41EE-4067-A845-2F32AB57CB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175720-87E1-4F51-95F1-F7561C7A52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D0FB40C-46FA-4EF4-B44D-AAC36CFA989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0" y="4329600"/>
            <a:ext cx="1425600" cy="820800"/>
          </a:xfrm>
        </p:spPr>
        <p:txBody>
          <a:bodyPr/>
          <a:lstStyle>
            <a:lvl1pPr>
              <a:defRPr sz="1067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ountry name</a:t>
            </a:r>
          </a:p>
          <a:p>
            <a:pPr lvl="1"/>
            <a:endParaRPr lang="en-GB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FD1FA37D-9EF3-4FE7-97EA-95ADBBE0D1A6}"/>
              </a:ext>
            </a:extLst>
          </p:cNvPr>
          <p:cNvGrpSpPr/>
          <p:nvPr userDrawn="1"/>
        </p:nvGrpSpPr>
        <p:grpSpPr>
          <a:xfrm>
            <a:off x="431801" y="311150"/>
            <a:ext cx="428348" cy="696421"/>
            <a:chOff x="-3513606" y="270529"/>
            <a:chExt cx="1671638" cy="2717801"/>
          </a:xfrm>
        </p:grpSpPr>
        <p:sp>
          <p:nvSpPr>
            <p:cNvPr id="13" name="Freeform 5">
              <a:extLst>
                <a:ext uri="{FF2B5EF4-FFF2-40B4-BE49-F238E27FC236}">
                  <a16:creationId xmlns:a16="http://schemas.microsoft.com/office/drawing/2014/main" id="{8099A84B-FD56-4CFD-9910-79177D8D5E31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5C5F919F-0718-4A3C-BD91-8D26769D9F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F82B3CD5-BEF3-4A42-BB37-A6A2EAE7277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16306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-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6DEDAE5-0FD4-44FE-A85E-759428EB715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B2CDEE8-151E-4D41-89C2-E6FF81A443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D54957-A7C4-4868-B270-50BC75181A91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557C5C5-AF97-40C6-AEC5-54D1F5FB0D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AF1169-050B-4604-A3CE-30B241B659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AF79E64A-4F7F-4C3D-9F78-DA6F2D8592B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4510617"/>
            <a:ext cx="11328400" cy="886883"/>
          </a:xfrm>
        </p:spPr>
        <p:txBody>
          <a:bodyPr>
            <a:normAutofit/>
          </a:bodyPr>
          <a:lstStyle>
            <a:lvl1pPr algn="ctr">
              <a:defRPr sz="2400"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add text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7333F1F-70B8-4633-8D8F-23CFA3789148}"/>
              </a:ext>
            </a:extLst>
          </p:cNvPr>
          <p:cNvGrpSpPr/>
          <p:nvPr userDrawn="1"/>
        </p:nvGrpSpPr>
        <p:grpSpPr>
          <a:xfrm>
            <a:off x="5439312" y="1961812"/>
            <a:ext cx="1392000" cy="2256000"/>
            <a:chOff x="-3513606" y="270529"/>
            <a:chExt cx="1671638" cy="2717801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8879E113-EDFA-4DEE-9AB1-0E7F19C7B31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37101E0A-B80D-492F-AEB2-8B162EEF4F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E87FA36E-21E8-4606-A40C-62BAF789FDC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80"/>
              <a:ext cx="1236662" cy="2378074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35151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22E701-D78D-4E2B-9D61-E3900BDDA3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3" y="1316565"/>
            <a:ext cx="2382196" cy="116023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11E145-7111-49AB-AEDE-6FABB945014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31803" y="6308879"/>
            <a:ext cx="264300" cy="313364"/>
          </a:xfrm>
          <a:prstGeom prst="rect">
            <a:avLst/>
          </a:prstGeom>
        </p:spPr>
        <p:txBody>
          <a:bodyPr/>
          <a:lstStyle/>
          <a:p>
            <a:fld id="{6D11FE4E-4FB7-451D-AC48-A0B381E425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71B018-3C41-4A58-9CC7-6CA18F796C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51422" y="6274003"/>
            <a:ext cx="2165545" cy="383116"/>
          </a:xfrm>
          <a:prstGeom prst="rect">
            <a:avLst/>
          </a:prstGeom>
        </p:spPr>
        <p:txBody>
          <a:bodyPr/>
          <a:lstStyle/>
          <a:p>
            <a:r>
              <a:rPr lang="en-GB"/>
              <a:t>Private © 2019 Rolls-Royce Not Subject to Export Control </a:t>
            </a:r>
          </a:p>
        </p:txBody>
      </p:sp>
      <p:sp>
        <p:nvSpPr>
          <p:cNvPr id="49" name="Text Placeholder 5">
            <a:extLst>
              <a:ext uri="{FF2B5EF4-FFF2-40B4-BE49-F238E27FC236}">
                <a16:creationId xmlns:a16="http://schemas.microsoft.com/office/drawing/2014/main" id="{A3F2735C-1988-4A51-9C3C-93F1690E3BC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1800" y="2575987"/>
            <a:ext cx="2380800" cy="2821516"/>
          </a:xfrm>
        </p:spPr>
        <p:txBody>
          <a:bodyPr/>
          <a:lstStyle>
            <a:lvl1pPr>
              <a:defRPr lang="en-US" sz="1333" kern="1200" dirty="0" smtClean="0">
                <a:solidFill>
                  <a:srgbClr val="666666"/>
                </a:solidFill>
                <a:latin typeface="RR Pioneer" panose="020B050305020104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32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Wingdings" pitchFamily="2" charset="2"/>
              <a:buNone/>
            </a:pPr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99408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&amp;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C68E69F-879A-48F7-B33F-E9F47D44BBF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>
              <a:latin typeface="RR Pioneer" panose="020B05030502010401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71B018-3C41-4A58-9CC7-6CA18F796C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51422" y="6274003"/>
            <a:ext cx="2165545" cy="3831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Private © 2019 Rolls-Royce Not Subject to Export Control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6D4D27-0C31-452A-9B57-954505E1280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47020" y="1316569"/>
            <a:ext cx="8113183" cy="3178097"/>
          </a:xfrm>
        </p:spPr>
        <p:txBody>
          <a:bodyPr/>
          <a:lstStyle>
            <a:lvl1pPr>
              <a:defRPr lang="en-US" sz="2667" kern="1200" dirty="0" smtClean="0">
                <a:solidFill>
                  <a:schemeClr val="tx1"/>
                </a:solidFill>
                <a:latin typeface="RR Pioneer Bold" panose="020B0803050201040103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/>
              <a:t>Emphasis or quote with descrip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D42EB8-1E7F-4BA3-ABE6-A268B88704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47020" y="4838700"/>
            <a:ext cx="8113183" cy="558800"/>
          </a:xfrm>
        </p:spPr>
        <p:txBody>
          <a:bodyPr/>
          <a:lstStyle>
            <a:lvl1pPr>
              <a:defRPr lang="en-US" sz="1600" kern="1200" dirty="0" smtClean="0">
                <a:solidFill>
                  <a:srgbClr val="4F98FF"/>
                </a:solidFill>
                <a:latin typeface="RR Pioneer" panose="020B0503050201040103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err="1"/>
              <a:t>Attributee</a:t>
            </a:r>
            <a:r>
              <a:rPr lang="en-US"/>
              <a:t>/sourc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11E145-7111-49AB-AEDE-6FABB945014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31803" y="6308879"/>
            <a:ext cx="264300" cy="31336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D11FE4E-4FB7-451D-AC48-A0B381E425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141D20B7-17F6-4EBB-8296-089D0DCA691E}"/>
              </a:ext>
            </a:extLst>
          </p:cNvPr>
          <p:cNvSpPr>
            <a:spLocks/>
          </p:cNvSpPr>
          <p:nvPr userDrawn="1"/>
        </p:nvSpPr>
        <p:spPr bwMode="auto">
          <a:xfrm>
            <a:off x="435460" y="315217"/>
            <a:ext cx="421840" cy="689099"/>
          </a:xfrm>
          <a:custGeom>
            <a:avLst/>
            <a:gdLst>
              <a:gd name="T0" fmla="*/ 0 w 686"/>
              <a:gd name="T1" fmla="*/ 78 h 1123"/>
              <a:gd name="T2" fmla="*/ 77 w 686"/>
              <a:gd name="T3" fmla="*/ 0 h 1123"/>
              <a:gd name="T4" fmla="*/ 609 w 686"/>
              <a:gd name="T5" fmla="*/ 0 h 1123"/>
              <a:gd name="T6" fmla="*/ 686 w 686"/>
              <a:gd name="T7" fmla="*/ 78 h 1123"/>
              <a:gd name="T8" fmla="*/ 686 w 686"/>
              <a:gd name="T9" fmla="*/ 1045 h 1123"/>
              <a:gd name="T10" fmla="*/ 609 w 686"/>
              <a:gd name="T11" fmla="*/ 1123 h 1123"/>
              <a:gd name="T12" fmla="*/ 77 w 686"/>
              <a:gd name="T13" fmla="*/ 1123 h 1123"/>
              <a:gd name="T14" fmla="*/ 0 w 686"/>
              <a:gd name="T15" fmla="*/ 1045 h 1123"/>
              <a:gd name="T16" fmla="*/ 0 w 686"/>
              <a:gd name="T17" fmla="*/ 78 h 1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86" h="1123">
                <a:moveTo>
                  <a:pt x="0" y="78"/>
                </a:moveTo>
                <a:cubicBezTo>
                  <a:pt x="0" y="35"/>
                  <a:pt x="34" y="0"/>
                  <a:pt x="77" y="0"/>
                </a:cubicBezTo>
                <a:cubicBezTo>
                  <a:pt x="609" y="0"/>
                  <a:pt x="609" y="0"/>
                  <a:pt x="609" y="0"/>
                </a:cubicBezTo>
                <a:cubicBezTo>
                  <a:pt x="651" y="0"/>
                  <a:pt x="686" y="35"/>
                  <a:pt x="686" y="78"/>
                </a:cubicBezTo>
                <a:cubicBezTo>
                  <a:pt x="686" y="1045"/>
                  <a:pt x="686" y="1045"/>
                  <a:pt x="686" y="1045"/>
                </a:cubicBezTo>
                <a:cubicBezTo>
                  <a:pt x="686" y="1088"/>
                  <a:pt x="651" y="1123"/>
                  <a:pt x="609" y="1123"/>
                </a:cubicBezTo>
                <a:cubicBezTo>
                  <a:pt x="77" y="1123"/>
                  <a:pt x="77" y="1123"/>
                  <a:pt x="77" y="1123"/>
                </a:cubicBezTo>
                <a:cubicBezTo>
                  <a:pt x="34" y="1123"/>
                  <a:pt x="0" y="1088"/>
                  <a:pt x="0" y="1045"/>
                </a:cubicBezTo>
                <a:lnTo>
                  <a:pt x="0" y="7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2400">
              <a:latin typeface="RR Pioneer" panose="020B0503050201040103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41B1520-D1C5-4F7C-90C1-E31E81CAD8E7}"/>
              </a:ext>
            </a:extLst>
          </p:cNvPr>
          <p:cNvGrpSpPr/>
          <p:nvPr userDrawn="1"/>
        </p:nvGrpSpPr>
        <p:grpSpPr>
          <a:xfrm>
            <a:off x="431803" y="311152"/>
            <a:ext cx="428348" cy="696421"/>
            <a:chOff x="-3513606" y="270529"/>
            <a:chExt cx="1671638" cy="2717801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FA1495E6-6AED-414F-8D6B-35EA17D33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latin typeface="RR Pioneer" panose="020B0503050201040103" pitchFamily="34" charset="0"/>
              </a:endParaRPr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05EB8A02-8503-4480-A37A-B65E928B0F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latin typeface="RR Pioneer" panose="020B0503050201040103" pitchFamily="34" charset="0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DAD021D4-D24A-4588-9B93-D3C21AFCC7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latin typeface="RR Pioneer" panose="020B0503050201040103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5934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&amp;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C68E69F-879A-48F7-B33F-E9F47D44BBF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>
              <a:latin typeface="RR Pioneer" panose="020B05030502010401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71B018-3C41-4A58-9CC7-6CA18F796C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51422" y="6274003"/>
            <a:ext cx="2165545" cy="38311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Private © 2019 Rolls-Royce Not Subject to Export Control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06D4D27-0C31-452A-9B57-954505E1280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47020" y="1316569"/>
            <a:ext cx="8113183" cy="3178097"/>
          </a:xfrm>
        </p:spPr>
        <p:txBody>
          <a:bodyPr/>
          <a:lstStyle>
            <a:lvl1pPr>
              <a:defRPr lang="en-US" sz="2667" kern="1200" dirty="0" smtClean="0">
                <a:solidFill>
                  <a:schemeClr val="tx1"/>
                </a:solidFill>
                <a:latin typeface="RR Pioneer Bold" panose="020B0803050201040103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/>
              <a:t>Emphasis or quote with descriptio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D42EB8-1E7F-4BA3-ABE6-A268B88704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47020" y="4838700"/>
            <a:ext cx="8113183" cy="558800"/>
          </a:xfrm>
        </p:spPr>
        <p:txBody>
          <a:bodyPr/>
          <a:lstStyle>
            <a:lvl1pPr>
              <a:defRPr lang="en-US" sz="1600" kern="1200" dirty="0" smtClean="0">
                <a:solidFill>
                  <a:srgbClr val="4F98FF"/>
                </a:solidFill>
                <a:latin typeface="RR Pioneer" panose="020B0503050201040103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914332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bg2"/>
              </a:buClr>
              <a:buFont typeface="Arial" panose="020B0604020202020204" pitchFamily="34" charset="0"/>
              <a:buNone/>
            </a:pPr>
            <a:r>
              <a:rPr lang="en-US" err="1"/>
              <a:t>Attributee</a:t>
            </a:r>
            <a:r>
              <a:rPr lang="en-US"/>
              <a:t>/sourc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511E145-7111-49AB-AEDE-6FABB945014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31803" y="6308879"/>
            <a:ext cx="264300" cy="31336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6D11FE4E-4FB7-451D-AC48-A0B381E425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141D20B7-17F6-4EBB-8296-089D0DCA691E}"/>
              </a:ext>
            </a:extLst>
          </p:cNvPr>
          <p:cNvSpPr>
            <a:spLocks/>
          </p:cNvSpPr>
          <p:nvPr userDrawn="1"/>
        </p:nvSpPr>
        <p:spPr bwMode="auto">
          <a:xfrm>
            <a:off x="435460" y="315217"/>
            <a:ext cx="421840" cy="689099"/>
          </a:xfrm>
          <a:custGeom>
            <a:avLst/>
            <a:gdLst>
              <a:gd name="T0" fmla="*/ 0 w 686"/>
              <a:gd name="T1" fmla="*/ 78 h 1123"/>
              <a:gd name="T2" fmla="*/ 77 w 686"/>
              <a:gd name="T3" fmla="*/ 0 h 1123"/>
              <a:gd name="T4" fmla="*/ 609 w 686"/>
              <a:gd name="T5" fmla="*/ 0 h 1123"/>
              <a:gd name="T6" fmla="*/ 686 w 686"/>
              <a:gd name="T7" fmla="*/ 78 h 1123"/>
              <a:gd name="T8" fmla="*/ 686 w 686"/>
              <a:gd name="T9" fmla="*/ 1045 h 1123"/>
              <a:gd name="T10" fmla="*/ 609 w 686"/>
              <a:gd name="T11" fmla="*/ 1123 h 1123"/>
              <a:gd name="T12" fmla="*/ 77 w 686"/>
              <a:gd name="T13" fmla="*/ 1123 h 1123"/>
              <a:gd name="T14" fmla="*/ 0 w 686"/>
              <a:gd name="T15" fmla="*/ 1045 h 1123"/>
              <a:gd name="T16" fmla="*/ 0 w 686"/>
              <a:gd name="T17" fmla="*/ 78 h 1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86" h="1123">
                <a:moveTo>
                  <a:pt x="0" y="78"/>
                </a:moveTo>
                <a:cubicBezTo>
                  <a:pt x="0" y="35"/>
                  <a:pt x="34" y="0"/>
                  <a:pt x="77" y="0"/>
                </a:cubicBezTo>
                <a:cubicBezTo>
                  <a:pt x="609" y="0"/>
                  <a:pt x="609" y="0"/>
                  <a:pt x="609" y="0"/>
                </a:cubicBezTo>
                <a:cubicBezTo>
                  <a:pt x="651" y="0"/>
                  <a:pt x="686" y="35"/>
                  <a:pt x="686" y="78"/>
                </a:cubicBezTo>
                <a:cubicBezTo>
                  <a:pt x="686" y="1045"/>
                  <a:pt x="686" y="1045"/>
                  <a:pt x="686" y="1045"/>
                </a:cubicBezTo>
                <a:cubicBezTo>
                  <a:pt x="686" y="1088"/>
                  <a:pt x="651" y="1123"/>
                  <a:pt x="609" y="1123"/>
                </a:cubicBezTo>
                <a:cubicBezTo>
                  <a:pt x="77" y="1123"/>
                  <a:pt x="77" y="1123"/>
                  <a:pt x="77" y="1123"/>
                </a:cubicBezTo>
                <a:cubicBezTo>
                  <a:pt x="34" y="1123"/>
                  <a:pt x="0" y="1088"/>
                  <a:pt x="0" y="1045"/>
                </a:cubicBezTo>
                <a:lnTo>
                  <a:pt x="0" y="7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2400">
              <a:latin typeface="RR Pioneer" panose="020B0503050201040103" pitchFamily="34" charset="0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41B1520-D1C5-4F7C-90C1-E31E81CAD8E7}"/>
              </a:ext>
            </a:extLst>
          </p:cNvPr>
          <p:cNvGrpSpPr/>
          <p:nvPr userDrawn="1"/>
        </p:nvGrpSpPr>
        <p:grpSpPr>
          <a:xfrm>
            <a:off x="431803" y="311152"/>
            <a:ext cx="428348" cy="696421"/>
            <a:chOff x="-3513606" y="270529"/>
            <a:chExt cx="1671638" cy="2717801"/>
          </a:xfrm>
        </p:grpSpPr>
        <p:sp>
          <p:nvSpPr>
            <p:cNvPr id="12" name="Freeform 5">
              <a:extLst>
                <a:ext uri="{FF2B5EF4-FFF2-40B4-BE49-F238E27FC236}">
                  <a16:creationId xmlns:a16="http://schemas.microsoft.com/office/drawing/2014/main" id="{FA1495E6-6AED-414F-8D6B-35EA17D33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latin typeface="RR Pioneer" panose="020B0503050201040103" pitchFamily="34" charset="0"/>
              </a:endParaRPr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05EB8A02-8503-4480-A37A-B65E928B0F4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latin typeface="RR Pioneer" panose="020B0503050201040103" pitchFamily="34" charset="0"/>
              </a:endParaRPr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DAD021D4-D24A-4588-9B93-D3C21AFCC74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latin typeface="RR Pioneer" panose="020B0503050201040103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17348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9EC6EB6-0EEE-4BBB-B4A6-72BF5D802D88}"/>
              </a:ext>
            </a:extLst>
          </p:cNvPr>
          <p:cNvSpPr/>
          <p:nvPr userDrawn="1"/>
        </p:nvSpPr>
        <p:spPr>
          <a:xfrm>
            <a:off x="3024721" y="0"/>
            <a:ext cx="9167281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6AA855-7E6E-4927-A811-F63C0750684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47018" y="2179200"/>
            <a:ext cx="8113183" cy="566400"/>
          </a:xfrm>
        </p:spPr>
        <p:txBody>
          <a:bodyPr anchor="b">
            <a:noAutofit/>
          </a:bodyPr>
          <a:lstStyle>
            <a:lvl1pPr algn="l"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0B840D-89AD-469A-9906-0384E3FD26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48000" y="2860800"/>
            <a:ext cx="8112000" cy="446400"/>
          </a:xfrm>
        </p:spPr>
        <p:txBody>
          <a:bodyPr>
            <a:noAutofit/>
          </a:bodyPr>
          <a:lstStyle>
            <a:lvl1pPr marL="0" indent="0" algn="l">
              <a:buNone/>
              <a:defRPr lang="en-US" sz="2667" kern="1200" dirty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  <a:lvl2pPr marL="457195" indent="0" algn="ctr">
              <a:buNone/>
              <a:defRPr sz="2000"/>
            </a:lvl2pPr>
            <a:lvl3pPr marL="914388" indent="0" algn="ctr">
              <a:buNone/>
              <a:defRPr sz="1800"/>
            </a:lvl3pPr>
            <a:lvl4pPr marL="1371583" indent="0" algn="ctr">
              <a:buNone/>
              <a:defRPr sz="1600"/>
            </a:lvl4pPr>
            <a:lvl5pPr marL="1828777" indent="0" algn="ctr">
              <a:buNone/>
              <a:defRPr sz="1600"/>
            </a:lvl5pPr>
            <a:lvl6pPr marL="2285971" indent="0" algn="ctr">
              <a:buNone/>
              <a:defRPr sz="1600"/>
            </a:lvl6pPr>
            <a:lvl7pPr marL="2743166" indent="0" algn="ctr">
              <a:buNone/>
              <a:defRPr sz="1600"/>
            </a:lvl7pPr>
            <a:lvl8pPr marL="3200360" indent="0" algn="ctr">
              <a:buNone/>
              <a:defRPr sz="1600"/>
            </a:lvl8pPr>
            <a:lvl9pPr marL="3657554" indent="0" algn="ctr">
              <a:buNone/>
              <a:defRPr sz="1600"/>
            </a:lvl9pPr>
          </a:lstStyle>
          <a:p>
            <a:r>
              <a:rPr lang="en-US"/>
              <a:t>Presentation sub-tit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9FCDBA-3B9B-4385-BED9-F418223EB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14A118-662A-432F-9A62-23406E4CF67E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10B49E-C956-4407-B999-F88F1FA6F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6B4624-DA49-4DF6-A561-977EFFDF4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7E86416-DF3C-4150-A8E7-60289DFFAE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47019" y="3422400"/>
            <a:ext cx="8111067" cy="326400"/>
          </a:xfrm>
        </p:spPr>
        <p:txBody>
          <a:bodyPr>
            <a:no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uthor Name, Job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87897AC3-FB94-4825-8939-95C9C02349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48000" y="3864000"/>
            <a:ext cx="8111067" cy="326400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XXXX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346D7C4-096A-4546-981B-47B5DF66AA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3" y="4070400"/>
            <a:ext cx="2164800" cy="1920000"/>
          </a:xfrm>
        </p:spPr>
        <p:txBody>
          <a:bodyPr anchor="b" anchorCtr="0">
            <a:noAutofit/>
          </a:bodyPr>
          <a:lstStyle>
            <a:lvl1pPr>
              <a:defRPr sz="1067">
                <a:solidFill>
                  <a:srgbClr val="666666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BUSINESS STATEMENT: Insert mandatory statement, this can be copied and pasted from the markings summary slide. 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943F97D-F88F-4D8B-ACD6-0756CF793E57}"/>
              </a:ext>
            </a:extLst>
          </p:cNvPr>
          <p:cNvGrpSpPr/>
          <p:nvPr userDrawn="1"/>
        </p:nvGrpSpPr>
        <p:grpSpPr>
          <a:xfrm>
            <a:off x="1020975" y="2230120"/>
            <a:ext cx="959247" cy="1559573"/>
            <a:chOff x="-3513606" y="270529"/>
            <a:chExt cx="1671638" cy="2717801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06621B0-0B38-4B72-8817-E6E77E822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30BA4D60-AEBF-45FD-B023-834FAF56E3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98CA8C26-FADB-4F00-9333-67195ABE5C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0" name="Picture 9" descr="Shape, polygon&#10;&#10;Description automatically generated">
            <a:extLst>
              <a:ext uri="{FF2B5EF4-FFF2-40B4-BE49-F238E27FC236}">
                <a16:creationId xmlns:a16="http://schemas.microsoft.com/office/drawing/2014/main" id="{65CE3176-2BA5-964F-A124-884CE26016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016" y="0"/>
            <a:ext cx="5758985" cy="416912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5D91D30-B589-3E43-9BE8-426DE04137E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2654" y="579637"/>
            <a:ext cx="2747205" cy="84005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2341793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9EC6EB6-0EEE-4BBB-B4A6-72BF5D802D88}"/>
              </a:ext>
            </a:extLst>
          </p:cNvPr>
          <p:cNvSpPr/>
          <p:nvPr userDrawn="1"/>
        </p:nvSpPr>
        <p:spPr>
          <a:xfrm>
            <a:off x="3024721" y="0"/>
            <a:ext cx="9167281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800"/>
          </a:p>
        </p:txBody>
      </p:sp>
      <p:pic>
        <p:nvPicPr>
          <p:cNvPr id="8" name="Picture 7" descr="A picture containing radar chart&#10;&#10;Description automatically generated">
            <a:extLst>
              <a:ext uri="{FF2B5EF4-FFF2-40B4-BE49-F238E27FC236}">
                <a16:creationId xmlns:a16="http://schemas.microsoft.com/office/drawing/2014/main" id="{1785E696-2143-044D-80A5-0AEF4A107BD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715585B-974A-A64C-B7CD-65EF4D93FC1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7016" y="560449"/>
            <a:ext cx="3460955" cy="10583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6AA855-7E6E-4927-A811-F63C0750684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47018" y="2179200"/>
            <a:ext cx="8113183" cy="566400"/>
          </a:xfrm>
        </p:spPr>
        <p:txBody>
          <a:bodyPr anchor="b">
            <a:noAutofit/>
          </a:bodyPr>
          <a:lstStyle>
            <a:lvl1pPr algn="l"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0B840D-89AD-469A-9906-0384E3FD26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48000" y="2860800"/>
            <a:ext cx="8112000" cy="446400"/>
          </a:xfrm>
        </p:spPr>
        <p:txBody>
          <a:bodyPr>
            <a:noAutofit/>
          </a:bodyPr>
          <a:lstStyle>
            <a:lvl1pPr marL="0" indent="0" algn="l">
              <a:buNone/>
              <a:defRPr lang="en-US" sz="2667" kern="1200" dirty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  <a:lvl2pPr marL="457195" indent="0" algn="ctr">
              <a:buNone/>
              <a:defRPr sz="2000"/>
            </a:lvl2pPr>
            <a:lvl3pPr marL="914388" indent="0" algn="ctr">
              <a:buNone/>
              <a:defRPr sz="1800"/>
            </a:lvl3pPr>
            <a:lvl4pPr marL="1371583" indent="0" algn="ctr">
              <a:buNone/>
              <a:defRPr sz="1600"/>
            </a:lvl4pPr>
            <a:lvl5pPr marL="1828777" indent="0" algn="ctr">
              <a:buNone/>
              <a:defRPr sz="1600"/>
            </a:lvl5pPr>
            <a:lvl6pPr marL="2285971" indent="0" algn="ctr">
              <a:buNone/>
              <a:defRPr sz="1600"/>
            </a:lvl6pPr>
            <a:lvl7pPr marL="2743166" indent="0" algn="ctr">
              <a:buNone/>
              <a:defRPr sz="1600"/>
            </a:lvl7pPr>
            <a:lvl8pPr marL="3200360" indent="0" algn="ctr">
              <a:buNone/>
              <a:defRPr sz="1600"/>
            </a:lvl8pPr>
            <a:lvl9pPr marL="3657554" indent="0" algn="ctr">
              <a:buNone/>
              <a:defRPr sz="1600"/>
            </a:lvl9pPr>
          </a:lstStyle>
          <a:p>
            <a:r>
              <a:rPr lang="en-US"/>
              <a:t>Presentation sub-tit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9FCDBA-3B9B-4385-BED9-F418223EB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14A118-662A-432F-9A62-23406E4CF67E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10B49E-C956-4407-B999-F88F1FA6F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6B4624-DA49-4DF6-A561-977EFFDF4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7E86416-DF3C-4150-A8E7-60289DFFAE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47019" y="3422400"/>
            <a:ext cx="8111067" cy="326400"/>
          </a:xfrm>
        </p:spPr>
        <p:txBody>
          <a:bodyPr>
            <a:no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uthor Name, Job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87897AC3-FB94-4825-8939-95C9C02349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48000" y="3864000"/>
            <a:ext cx="8111067" cy="326400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XXXX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346D7C4-096A-4546-981B-47B5DF66AA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3" y="4070400"/>
            <a:ext cx="2164800" cy="1920000"/>
          </a:xfrm>
        </p:spPr>
        <p:txBody>
          <a:bodyPr anchor="b" anchorCtr="0">
            <a:noAutofit/>
          </a:bodyPr>
          <a:lstStyle>
            <a:lvl1pPr>
              <a:defRPr sz="1067">
                <a:solidFill>
                  <a:srgbClr val="666666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BUSINESS STATEMENT: Insert mandatory statement, this can be copied and pasted from the markings summary slide. 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943F97D-F88F-4D8B-ACD6-0756CF793E57}"/>
              </a:ext>
            </a:extLst>
          </p:cNvPr>
          <p:cNvGrpSpPr/>
          <p:nvPr userDrawn="1"/>
        </p:nvGrpSpPr>
        <p:grpSpPr>
          <a:xfrm>
            <a:off x="1020975" y="2230120"/>
            <a:ext cx="959247" cy="1559573"/>
            <a:chOff x="-3513606" y="270529"/>
            <a:chExt cx="1671638" cy="2717801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06621B0-0B38-4B72-8817-E6E77E822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30BA4D60-AEBF-45FD-B023-834FAF56E3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98CA8C26-FADB-4F00-9333-67195ABE5C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438035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9EC6EB6-0EEE-4BBB-B4A6-72BF5D802D88}"/>
              </a:ext>
            </a:extLst>
          </p:cNvPr>
          <p:cNvSpPr/>
          <p:nvPr userDrawn="1"/>
        </p:nvSpPr>
        <p:spPr>
          <a:xfrm>
            <a:off x="3024721" y="0"/>
            <a:ext cx="9167281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800"/>
          </a:p>
        </p:txBody>
      </p:sp>
      <p:pic>
        <p:nvPicPr>
          <p:cNvPr id="9" name="Picture 8" descr="Shape, polygon&#10;&#10;Description automatically generated">
            <a:extLst>
              <a:ext uri="{FF2B5EF4-FFF2-40B4-BE49-F238E27FC236}">
                <a16:creationId xmlns:a16="http://schemas.microsoft.com/office/drawing/2014/main" id="{439CBE33-0C38-8543-8CF3-07FE494AD6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6203" y="2"/>
            <a:ext cx="5760000" cy="4169855"/>
          </a:xfrm>
          <a:prstGeom prst="rect">
            <a:avLst/>
          </a:prstGeom>
        </p:spPr>
      </p:pic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79BF3DB-C72F-794A-A32F-414CC6CE8A2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7016" y="559345"/>
            <a:ext cx="3460955" cy="10583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6AA855-7E6E-4927-A811-F63C0750684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47018" y="2179200"/>
            <a:ext cx="8113183" cy="566400"/>
          </a:xfrm>
        </p:spPr>
        <p:txBody>
          <a:bodyPr anchor="b">
            <a:noAutofit/>
          </a:bodyPr>
          <a:lstStyle>
            <a:lvl1pPr algn="l"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0B840D-89AD-469A-9906-0384E3FD26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48000" y="2860800"/>
            <a:ext cx="8112000" cy="446400"/>
          </a:xfrm>
        </p:spPr>
        <p:txBody>
          <a:bodyPr>
            <a:noAutofit/>
          </a:bodyPr>
          <a:lstStyle>
            <a:lvl1pPr marL="0" indent="0" algn="l">
              <a:buNone/>
              <a:defRPr lang="en-US" sz="2667" kern="1200" dirty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  <a:lvl2pPr marL="457195" indent="0" algn="ctr">
              <a:buNone/>
              <a:defRPr sz="2000"/>
            </a:lvl2pPr>
            <a:lvl3pPr marL="914388" indent="0" algn="ctr">
              <a:buNone/>
              <a:defRPr sz="1800"/>
            </a:lvl3pPr>
            <a:lvl4pPr marL="1371583" indent="0" algn="ctr">
              <a:buNone/>
              <a:defRPr sz="1600"/>
            </a:lvl4pPr>
            <a:lvl5pPr marL="1828777" indent="0" algn="ctr">
              <a:buNone/>
              <a:defRPr sz="1600"/>
            </a:lvl5pPr>
            <a:lvl6pPr marL="2285971" indent="0" algn="ctr">
              <a:buNone/>
              <a:defRPr sz="1600"/>
            </a:lvl6pPr>
            <a:lvl7pPr marL="2743166" indent="0" algn="ctr">
              <a:buNone/>
              <a:defRPr sz="1600"/>
            </a:lvl7pPr>
            <a:lvl8pPr marL="3200360" indent="0" algn="ctr">
              <a:buNone/>
              <a:defRPr sz="1600"/>
            </a:lvl8pPr>
            <a:lvl9pPr marL="3657554" indent="0" algn="ctr">
              <a:buNone/>
              <a:defRPr sz="1600"/>
            </a:lvl9pPr>
          </a:lstStyle>
          <a:p>
            <a:r>
              <a:rPr lang="en-US"/>
              <a:t>Presentation sub-tit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9FCDBA-3B9B-4385-BED9-F418223EB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14A118-662A-432F-9A62-23406E4CF67E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10B49E-C956-4407-B999-F88F1FA6F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6B4624-DA49-4DF6-A561-977EFFDF4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7E86416-DF3C-4150-A8E7-60289DFFAE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47019" y="3422400"/>
            <a:ext cx="8111067" cy="326400"/>
          </a:xfrm>
        </p:spPr>
        <p:txBody>
          <a:bodyPr>
            <a:no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uthor Name, Job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87897AC3-FB94-4825-8939-95C9C02349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48000" y="3864000"/>
            <a:ext cx="8111067" cy="326400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XXXX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346D7C4-096A-4546-981B-47B5DF66AA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3" y="4070400"/>
            <a:ext cx="2164800" cy="1920000"/>
          </a:xfrm>
        </p:spPr>
        <p:txBody>
          <a:bodyPr anchor="b" anchorCtr="0">
            <a:noAutofit/>
          </a:bodyPr>
          <a:lstStyle>
            <a:lvl1pPr>
              <a:defRPr sz="1067">
                <a:solidFill>
                  <a:srgbClr val="666666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BUSINESS STATEMENT: Insert mandatory statement, this can be copied and pasted from the markings summary slide. 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943F97D-F88F-4D8B-ACD6-0756CF793E57}"/>
              </a:ext>
            </a:extLst>
          </p:cNvPr>
          <p:cNvGrpSpPr/>
          <p:nvPr userDrawn="1"/>
        </p:nvGrpSpPr>
        <p:grpSpPr>
          <a:xfrm>
            <a:off x="1020975" y="2230120"/>
            <a:ext cx="959247" cy="1559573"/>
            <a:chOff x="-3513606" y="270529"/>
            <a:chExt cx="1671638" cy="2717801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06621B0-0B38-4B72-8817-E6E77E822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30BA4D60-AEBF-45FD-B023-834FAF56E3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98CA8C26-FADB-4F00-9333-67195ABE5C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9698358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9EC6EB6-0EEE-4BBB-B4A6-72BF5D802D88}"/>
              </a:ext>
            </a:extLst>
          </p:cNvPr>
          <p:cNvSpPr/>
          <p:nvPr userDrawn="1"/>
        </p:nvSpPr>
        <p:spPr>
          <a:xfrm>
            <a:off x="3024721" y="0"/>
            <a:ext cx="9167281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800"/>
          </a:p>
        </p:txBody>
      </p:sp>
      <p:pic>
        <p:nvPicPr>
          <p:cNvPr id="8" name="Picture 7" descr="Radar chart&#10;&#10;Description automatically generated">
            <a:extLst>
              <a:ext uri="{FF2B5EF4-FFF2-40B4-BE49-F238E27FC236}">
                <a16:creationId xmlns:a16="http://schemas.microsoft.com/office/drawing/2014/main" id="{D062951F-4D7C-E840-9286-D4F55081CAC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FE2CCD9F-E8B2-DF4F-8A81-65533599FCB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7020" y="557507"/>
            <a:ext cx="3460952" cy="10583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6AA855-7E6E-4927-A811-F63C0750684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47018" y="2179200"/>
            <a:ext cx="8113183" cy="566400"/>
          </a:xfrm>
        </p:spPr>
        <p:txBody>
          <a:bodyPr anchor="b">
            <a:noAutofit/>
          </a:bodyPr>
          <a:lstStyle>
            <a:lvl1pPr algn="l"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0B840D-89AD-469A-9906-0384E3FD26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48000" y="2860800"/>
            <a:ext cx="8112000" cy="446400"/>
          </a:xfrm>
        </p:spPr>
        <p:txBody>
          <a:bodyPr>
            <a:noAutofit/>
          </a:bodyPr>
          <a:lstStyle>
            <a:lvl1pPr marL="0" indent="0" algn="l">
              <a:buNone/>
              <a:defRPr lang="en-US" sz="2667" kern="1200" dirty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  <a:lvl2pPr marL="457195" indent="0" algn="ctr">
              <a:buNone/>
              <a:defRPr sz="2000"/>
            </a:lvl2pPr>
            <a:lvl3pPr marL="914388" indent="0" algn="ctr">
              <a:buNone/>
              <a:defRPr sz="1800"/>
            </a:lvl3pPr>
            <a:lvl4pPr marL="1371583" indent="0" algn="ctr">
              <a:buNone/>
              <a:defRPr sz="1600"/>
            </a:lvl4pPr>
            <a:lvl5pPr marL="1828777" indent="0" algn="ctr">
              <a:buNone/>
              <a:defRPr sz="1600"/>
            </a:lvl5pPr>
            <a:lvl6pPr marL="2285971" indent="0" algn="ctr">
              <a:buNone/>
              <a:defRPr sz="1600"/>
            </a:lvl6pPr>
            <a:lvl7pPr marL="2743166" indent="0" algn="ctr">
              <a:buNone/>
              <a:defRPr sz="1600"/>
            </a:lvl7pPr>
            <a:lvl8pPr marL="3200360" indent="0" algn="ctr">
              <a:buNone/>
              <a:defRPr sz="1600"/>
            </a:lvl8pPr>
            <a:lvl9pPr marL="3657554" indent="0" algn="ctr">
              <a:buNone/>
              <a:defRPr sz="1600"/>
            </a:lvl9pPr>
          </a:lstStyle>
          <a:p>
            <a:r>
              <a:rPr lang="en-US"/>
              <a:t>Presentation sub-tit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9FCDBA-3B9B-4385-BED9-F418223EB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14A118-662A-432F-9A62-23406E4CF67E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10B49E-C956-4407-B999-F88F1FA6F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6B4624-DA49-4DF6-A561-977EFFDF4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7E86416-DF3C-4150-A8E7-60289DFFAE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47019" y="3422400"/>
            <a:ext cx="8111067" cy="326400"/>
          </a:xfrm>
        </p:spPr>
        <p:txBody>
          <a:bodyPr>
            <a:no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uthor Name, Job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87897AC3-FB94-4825-8939-95C9C02349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48000" y="3864000"/>
            <a:ext cx="8111067" cy="326400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XXXX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346D7C4-096A-4546-981B-47B5DF66AA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3" y="4070400"/>
            <a:ext cx="2164800" cy="1920000"/>
          </a:xfrm>
        </p:spPr>
        <p:txBody>
          <a:bodyPr anchor="b" anchorCtr="0">
            <a:noAutofit/>
          </a:bodyPr>
          <a:lstStyle>
            <a:lvl1pPr>
              <a:defRPr sz="1067">
                <a:solidFill>
                  <a:srgbClr val="666666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BUSINESS STATEMENT: Insert mandatory statement, this can be copied and pasted from the markings summary slide. 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943F97D-F88F-4D8B-ACD6-0756CF793E57}"/>
              </a:ext>
            </a:extLst>
          </p:cNvPr>
          <p:cNvGrpSpPr/>
          <p:nvPr userDrawn="1"/>
        </p:nvGrpSpPr>
        <p:grpSpPr>
          <a:xfrm>
            <a:off x="1020975" y="2230120"/>
            <a:ext cx="959247" cy="1559573"/>
            <a:chOff x="-3513606" y="270529"/>
            <a:chExt cx="1671638" cy="2717801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06621B0-0B38-4B72-8817-E6E77E822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30BA4D60-AEBF-45FD-B023-834FAF56E3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98CA8C26-FADB-4F00-9333-67195ABE5C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76666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-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E3273D-D190-43EA-AB9F-F4E0C3DE2A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600" y="1243200"/>
            <a:ext cx="2404800" cy="2188800"/>
          </a:xfrm>
        </p:spPr>
        <p:txBody>
          <a:bodyPr anchor="ctr" anchorCtr="0">
            <a:noAutofit/>
          </a:bodyPr>
          <a:lstStyle>
            <a:lvl1pPr algn="r">
              <a:defRPr sz="14666">
                <a:solidFill>
                  <a:schemeClr val="bg1"/>
                </a:solidFill>
                <a:latin typeface="RR Pioneer UltraLight Condensed" panose="020B0206030201060103" pitchFamily="34" charset="0"/>
              </a:defRPr>
            </a:lvl1pPr>
          </a:lstStyle>
          <a:p>
            <a:r>
              <a:rPr lang="en-US"/>
              <a:t>XX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AD4DAF-CD34-4819-9611-33C813C52E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BC592B0-04F2-49A7-BF3D-81416E435608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D09A4-D7CF-4D1D-8376-A6317B2D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87183-9305-4CC7-88E3-CD4694340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AABB29-22AC-4C62-A174-9E5A0A1EFA21}"/>
              </a:ext>
            </a:extLst>
          </p:cNvPr>
          <p:cNvSpPr/>
          <p:nvPr userDrawn="1"/>
        </p:nvSpPr>
        <p:spPr>
          <a:xfrm>
            <a:off x="431800" y="1222000"/>
            <a:ext cx="2772493" cy="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>
              <a:latin typeface="RR Pioneer" panose="020B0503050201040103" pitchFamily="34" charset="0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0021B20-6F0E-4481-874A-F21AE9FD3CC4}"/>
              </a:ext>
            </a:extLst>
          </p:cNvPr>
          <p:cNvSpPr/>
          <p:nvPr userDrawn="1"/>
        </p:nvSpPr>
        <p:spPr>
          <a:xfrm>
            <a:off x="4078816" y="1222000"/>
            <a:ext cx="7681384" cy="10160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>
              <a:latin typeface="RR Pioneer" panose="020B0503050201040103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DA88272-0989-4751-9FC4-6BE74AD9E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94400" y="1502401"/>
            <a:ext cx="7665600" cy="1924800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4267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51FF7EA-B38E-4E99-8157-37561C4A93EC}"/>
              </a:ext>
            </a:extLst>
          </p:cNvPr>
          <p:cNvGrpSpPr/>
          <p:nvPr userDrawn="1"/>
        </p:nvGrpSpPr>
        <p:grpSpPr>
          <a:xfrm>
            <a:off x="431801" y="311150"/>
            <a:ext cx="428348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1A303416-2A86-481B-851E-6DE8F3C616E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354886A1-1116-4672-8DA8-74AA553C0B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A4936AD2-7528-4A6A-8583-7E7103459F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21284341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9EC6EB6-0EEE-4BBB-B4A6-72BF5D802D88}"/>
              </a:ext>
            </a:extLst>
          </p:cNvPr>
          <p:cNvSpPr/>
          <p:nvPr userDrawn="1"/>
        </p:nvSpPr>
        <p:spPr>
          <a:xfrm>
            <a:off x="3024721" y="0"/>
            <a:ext cx="9167281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800"/>
          </a:p>
        </p:txBody>
      </p:sp>
      <p:pic>
        <p:nvPicPr>
          <p:cNvPr id="9" name="Picture 8" descr="A picture containing polygon&#10;&#10;Description automatically generated">
            <a:extLst>
              <a:ext uri="{FF2B5EF4-FFF2-40B4-BE49-F238E27FC236}">
                <a16:creationId xmlns:a16="http://schemas.microsoft.com/office/drawing/2014/main" id="{CA412630-15B6-2E4C-8056-4A7EBBFBF9C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  <p:pic>
        <p:nvPicPr>
          <p:cNvPr id="8" name="Picture 7" descr="Text&#10;&#10;Description automatically generated with medium confidence">
            <a:extLst>
              <a:ext uri="{FF2B5EF4-FFF2-40B4-BE49-F238E27FC236}">
                <a16:creationId xmlns:a16="http://schemas.microsoft.com/office/drawing/2014/main" id="{CF6CA83A-AB36-9C4A-8BDB-26BE8364A52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7020" y="549389"/>
            <a:ext cx="3460952" cy="10583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6AA855-7E6E-4927-A811-F63C0750684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47018" y="2179200"/>
            <a:ext cx="8113183" cy="566400"/>
          </a:xfrm>
        </p:spPr>
        <p:txBody>
          <a:bodyPr anchor="b">
            <a:noAutofit/>
          </a:bodyPr>
          <a:lstStyle>
            <a:lvl1pPr algn="l"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0B840D-89AD-469A-9906-0384E3FD26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48000" y="2860800"/>
            <a:ext cx="8112000" cy="446400"/>
          </a:xfrm>
        </p:spPr>
        <p:txBody>
          <a:bodyPr>
            <a:noAutofit/>
          </a:bodyPr>
          <a:lstStyle>
            <a:lvl1pPr marL="0" indent="0" algn="l">
              <a:buNone/>
              <a:defRPr lang="en-US" sz="2667" kern="1200" dirty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  <a:lvl2pPr marL="457195" indent="0" algn="ctr">
              <a:buNone/>
              <a:defRPr sz="2000"/>
            </a:lvl2pPr>
            <a:lvl3pPr marL="914388" indent="0" algn="ctr">
              <a:buNone/>
              <a:defRPr sz="1800"/>
            </a:lvl3pPr>
            <a:lvl4pPr marL="1371583" indent="0" algn="ctr">
              <a:buNone/>
              <a:defRPr sz="1600"/>
            </a:lvl4pPr>
            <a:lvl5pPr marL="1828777" indent="0" algn="ctr">
              <a:buNone/>
              <a:defRPr sz="1600"/>
            </a:lvl5pPr>
            <a:lvl6pPr marL="2285971" indent="0" algn="ctr">
              <a:buNone/>
              <a:defRPr sz="1600"/>
            </a:lvl6pPr>
            <a:lvl7pPr marL="2743166" indent="0" algn="ctr">
              <a:buNone/>
              <a:defRPr sz="1600"/>
            </a:lvl7pPr>
            <a:lvl8pPr marL="3200360" indent="0" algn="ctr">
              <a:buNone/>
              <a:defRPr sz="1600"/>
            </a:lvl8pPr>
            <a:lvl9pPr marL="3657554" indent="0" algn="ctr">
              <a:buNone/>
              <a:defRPr sz="1600"/>
            </a:lvl9pPr>
          </a:lstStyle>
          <a:p>
            <a:r>
              <a:rPr lang="en-US"/>
              <a:t>Presentation sub-tit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9FCDBA-3B9B-4385-BED9-F418223EB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14A118-662A-432F-9A62-23406E4CF67E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10B49E-C956-4407-B999-F88F1FA6F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6B4624-DA49-4DF6-A561-977EFFDF4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7E86416-DF3C-4150-A8E7-60289DFFAE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47019" y="3422400"/>
            <a:ext cx="8111067" cy="326400"/>
          </a:xfrm>
        </p:spPr>
        <p:txBody>
          <a:bodyPr>
            <a:no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uthor Name, Job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87897AC3-FB94-4825-8939-95C9C02349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48000" y="3864000"/>
            <a:ext cx="8111067" cy="326400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XXXX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346D7C4-096A-4546-981B-47B5DF66AA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3" y="4070400"/>
            <a:ext cx="2164800" cy="1920000"/>
          </a:xfrm>
        </p:spPr>
        <p:txBody>
          <a:bodyPr anchor="b" anchorCtr="0">
            <a:noAutofit/>
          </a:bodyPr>
          <a:lstStyle>
            <a:lvl1pPr>
              <a:defRPr sz="1067">
                <a:solidFill>
                  <a:srgbClr val="666666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BUSINESS STATEMENT: Insert mandatory statement, this can be copied and pasted from the markings summary slide. 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943F97D-F88F-4D8B-ACD6-0756CF793E57}"/>
              </a:ext>
            </a:extLst>
          </p:cNvPr>
          <p:cNvGrpSpPr/>
          <p:nvPr userDrawn="1"/>
        </p:nvGrpSpPr>
        <p:grpSpPr>
          <a:xfrm>
            <a:off x="1020975" y="2230120"/>
            <a:ext cx="959247" cy="1559573"/>
            <a:chOff x="-3513606" y="270529"/>
            <a:chExt cx="1671638" cy="2717801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06621B0-0B38-4B72-8817-E6E77E822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30BA4D60-AEBF-45FD-B023-834FAF56E3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98CA8C26-FADB-4F00-9333-67195ABE5C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18634483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9EC6EB6-0EEE-4BBB-B4A6-72BF5D802D88}"/>
              </a:ext>
            </a:extLst>
          </p:cNvPr>
          <p:cNvSpPr/>
          <p:nvPr userDrawn="1"/>
        </p:nvSpPr>
        <p:spPr>
          <a:xfrm>
            <a:off x="3024721" y="0"/>
            <a:ext cx="9167281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800"/>
          </a:p>
        </p:txBody>
      </p:sp>
      <p:pic>
        <p:nvPicPr>
          <p:cNvPr id="8" name="Picture 7" descr="Shape, polygon&#10;&#10;Description automatically generated">
            <a:extLst>
              <a:ext uri="{FF2B5EF4-FFF2-40B4-BE49-F238E27FC236}">
                <a16:creationId xmlns:a16="http://schemas.microsoft.com/office/drawing/2014/main" id="{D4C6B265-CEF7-E948-9515-56EA02C2338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B96DD1E1-763C-574C-AE67-4F4EF263A30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7013" y="540361"/>
            <a:ext cx="3460955" cy="105830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36AA855-7E6E-4927-A811-F63C0750684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47018" y="2179200"/>
            <a:ext cx="8113183" cy="566400"/>
          </a:xfrm>
        </p:spPr>
        <p:txBody>
          <a:bodyPr anchor="b">
            <a:noAutofit/>
          </a:bodyPr>
          <a:lstStyle>
            <a:lvl1pPr algn="l"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0B840D-89AD-469A-9906-0384E3FD26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48000" y="2860800"/>
            <a:ext cx="8112000" cy="446400"/>
          </a:xfrm>
        </p:spPr>
        <p:txBody>
          <a:bodyPr>
            <a:noAutofit/>
          </a:bodyPr>
          <a:lstStyle>
            <a:lvl1pPr marL="0" indent="0" algn="l">
              <a:buNone/>
              <a:defRPr lang="en-US" sz="2667" kern="1200" dirty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  <a:lvl2pPr marL="457195" indent="0" algn="ctr">
              <a:buNone/>
              <a:defRPr sz="2000"/>
            </a:lvl2pPr>
            <a:lvl3pPr marL="914388" indent="0" algn="ctr">
              <a:buNone/>
              <a:defRPr sz="1800"/>
            </a:lvl3pPr>
            <a:lvl4pPr marL="1371583" indent="0" algn="ctr">
              <a:buNone/>
              <a:defRPr sz="1600"/>
            </a:lvl4pPr>
            <a:lvl5pPr marL="1828777" indent="0" algn="ctr">
              <a:buNone/>
              <a:defRPr sz="1600"/>
            </a:lvl5pPr>
            <a:lvl6pPr marL="2285971" indent="0" algn="ctr">
              <a:buNone/>
              <a:defRPr sz="1600"/>
            </a:lvl6pPr>
            <a:lvl7pPr marL="2743166" indent="0" algn="ctr">
              <a:buNone/>
              <a:defRPr sz="1600"/>
            </a:lvl7pPr>
            <a:lvl8pPr marL="3200360" indent="0" algn="ctr">
              <a:buNone/>
              <a:defRPr sz="1600"/>
            </a:lvl8pPr>
            <a:lvl9pPr marL="3657554" indent="0" algn="ctr">
              <a:buNone/>
              <a:defRPr sz="1600"/>
            </a:lvl9pPr>
          </a:lstStyle>
          <a:p>
            <a:r>
              <a:rPr lang="en-US"/>
              <a:t>Presentation sub-tit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9FCDBA-3B9B-4385-BED9-F418223EB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14A118-662A-432F-9A62-23406E4CF67E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10B49E-C956-4407-B999-F88F1FA6F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6B4624-DA49-4DF6-A561-977EFFDF4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7E86416-DF3C-4150-A8E7-60289DFFAE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47019" y="3422400"/>
            <a:ext cx="8111067" cy="326400"/>
          </a:xfrm>
        </p:spPr>
        <p:txBody>
          <a:bodyPr>
            <a:no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uthor Name, Job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87897AC3-FB94-4825-8939-95C9C02349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48000" y="3864000"/>
            <a:ext cx="8111067" cy="326400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XXXX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346D7C4-096A-4546-981B-47B5DF66AA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3" y="4070400"/>
            <a:ext cx="2164800" cy="1920000"/>
          </a:xfrm>
        </p:spPr>
        <p:txBody>
          <a:bodyPr anchor="b" anchorCtr="0">
            <a:noAutofit/>
          </a:bodyPr>
          <a:lstStyle>
            <a:lvl1pPr>
              <a:defRPr sz="1067">
                <a:solidFill>
                  <a:srgbClr val="666666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BUSINESS STATEMENT: Insert mandatory statement, this can be copied and pasted from the markings summary slide. 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943F97D-F88F-4D8B-ACD6-0756CF793E57}"/>
              </a:ext>
            </a:extLst>
          </p:cNvPr>
          <p:cNvGrpSpPr/>
          <p:nvPr userDrawn="1"/>
        </p:nvGrpSpPr>
        <p:grpSpPr>
          <a:xfrm>
            <a:off x="1020975" y="2230120"/>
            <a:ext cx="959247" cy="1559573"/>
            <a:chOff x="-3513606" y="270529"/>
            <a:chExt cx="1671638" cy="2717801"/>
          </a:xfrm>
        </p:grpSpPr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06621B0-0B38-4B72-8817-E6E77E822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30BA4D60-AEBF-45FD-B023-834FAF56E35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7">
              <a:extLst>
                <a:ext uri="{FF2B5EF4-FFF2-40B4-BE49-F238E27FC236}">
                  <a16:creationId xmlns:a16="http://schemas.microsoft.com/office/drawing/2014/main" id="{98CA8C26-FADB-4F00-9333-67195ABE5C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27665898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8B6A34E-2C2C-6F42-8048-ADC48D9995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0069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pic>
        <p:nvPicPr>
          <p:cNvPr id="19" name="Picture 18" descr="Icon&#10;&#10;Description automatically generated">
            <a:extLst>
              <a:ext uri="{FF2B5EF4-FFF2-40B4-BE49-F238E27FC236}">
                <a16:creationId xmlns:a16="http://schemas.microsoft.com/office/drawing/2014/main" id="{417E8553-3033-7143-BF4C-499C103565D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991" y="108478"/>
            <a:ext cx="1389860" cy="1870031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10B49E-C956-4407-B999-F88F1FA6F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6B4624-DA49-4DF6-A561-977EFFDF4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 descr="Shape, polygon&#10;&#10;Description automatically generated">
            <a:extLst>
              <a:ext uri="{FF2B5EF4-FFF2-40B4-BE49-F238E27FC236}">
                <a16:creationId xmlns:a16="http://schemas.microsoft.com/office/drawing/2014/main" id="{65CE3176-2BA5-964F-A124-884CE260161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016" y="0"/>
            <a:ext cx="5758985" cy="416912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5D91D30-B589-3E43-9BE8-426DE04137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2654" y="579637"/>
            <a:ext cx="2747205" cy="840055"/>
          </a:xfrm>
          <a:prstGeom prst="rect">
            <a:avLst/>
          </a:prstGeom>
        </p:spPr>
      </p:pic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939D4E66-2813-A448-848B-8307E43FE74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000936" y="6307200"/>
            <a:ext cx="75906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0614823-2ED0-4093-A704-AD1E5AB30429}" type="datetime1">
              <a:rPr lang="en-GB" smtClean="0"/>
              <a:t>23/03/2023</a:t>
            </a:fld>
            <a:endParaRPr lang="en-GB"/>
          </a:p>
        </p:txBody>
      </p:sp>
      <p:sp>
        <p:nvSpPr>
          <p:cNvPr id="28" name="Text Placeholder 18">
            <a:extLst>
              <a:ext uri="{FF2B5EF4-FFF2-40B4-BE49-F238E27FC236}">
                <a16:creationId xmlns:a16="http://schemas.microsoft.com/office/drawing/2014/main" id="{AAAEA723-1A02-444E-A2D0-7B50A23472B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2004" y="2261567"/>
            <a:ext cx="7563816" cy="2195325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75000"/>
              </a:lnSpc>
              <a:buNone/>
              <a:defRPr sz="6933">
                <a:solidFill>
                  <a:schemeClr val="bg1"/>
                </a:solidFill>
                <a:latin typeface="RR Pioneer Bold" panose="020B0803050201040103" pitchFamily="34" charset="0"/>
              </a:defRPr>
            </a:lvl1pPr>
          </a:lstStyle>
          <a:p>
            <a:pPr lvl="0"/>
            <a:r>
              <a:rPr lang="en-US"/>
              <a:t>Large presentation</a:t>
            </a:r>
            <a:endParaRPr lang="en-GB"/>
          </a:p>
        </p:txBody>
      </p:sp>
      <p:sp>
        <p:nvSpPr>
          <p:cNvPr id="29" name="Text Placeholder 18">
            <a:extLst>
              <a:ext uri="{FF2B5EF4-FFF2-40B4-BE49-F238E27FC236}">
                <a16:creationId xmlns:a16="http://schemas.microsoft.com/office/drawing/2014/main" id="{DF32E812-D2C5-1A45-988A-09572FDBF2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2004" y="4608352"/>
            <a:ext cx="7563816" cy="9568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>
                <a:solidFill>
                  <a:srgbClr val="4F98FF"/>
                </a:solidFill>
                <a:latin typeface="RR Pioneer Bold" panose="020B08030502010401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sub-title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0661631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R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6F2732E-D856-4F41-9F52-5A6A2818545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12" name="Text Placeholder 18">
            <a:extLst>
              <a:ext uri="{FF2B5EF4-FFF2-40B4-BE49-F238E27FC236}">
                <a16:creationId xmlns:a16="http://schemas.microsoft.com/office/drawing/2014/main" id="{2AE5DCF8-360D-C74A-ABBB-F1961A141E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145587" y="1860756"/>
            <a:ext cx="7563816" cy="2195325"/>
          </a:xfrm>
          <a:prstGeom prst="rect">
            <a:avLst/>
          </a:prstGeom>
        </p:spPr>
        <p:txBody>
          <a:bodyPr anchor="b"/>
          <a:lstStyle>
            <a:lvl1pPr marL="0" indent="0">
              <a:lnSpc>
                <a:spcPct val="75000"/>
              </a:lnSpc>
              <a:buNone/>
              <a:defRPr sz="6933">
                <a:solidFill>
                  <a:schemeClr val="bg1"/>
                </a:solidFill>
                <a:latin typeface="RR Pioneer Bold" panose="020B0803050201040103" pitchFamily="34" charset="0"/>
              </a:defRPr>
            </a:lvl1pPr>
          </a:lstStyle>
          <a:p>
            <a:pPr lvl="0"/>
            <a:r>
              <a:rPr lang="en-US"/>
              <a:t>Large presentation</a:t>
            </a:r>
            <a:endParaRPr lang="en-GB"/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1CCF3573-271C-994D-AE7D-7184EB297CD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45587" y="4207541"/>
            <a:ext cx="7563816" cy="9568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>
                <a:solidFill>
                  <a:srgbClr val="4F98FF"/>
                </a:solidFill>
                <a:latin typeface="RR Pioneer Bold" panose="020B0803050201040103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sub-title</a:t>
            </a:r>
            <a:endParaRPr lang="en-GB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B447209-CC3C-504D-9105-98450FE501F0}"/>
              </a:ext>
            </a:extLst>
          </p:cNvPr>
          <p:cNvSpPr/>
          <p:nvPr userDrawn="1"/>
        </p:nvSpPr>
        <p:spPr>
          <a:xfrm>
            <a:off x="4168974" y="5261990"/>
            <a:ext cx="5864028" cy="10172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algn="l" defTabSz="914388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267"/>
              </a:spcAft>
            </a:pPr>
            <a:r>
              <a:rPr lang="en-GB" sz="800" b="0" i="0" kern="1200">
                <a:solidFill>
                  <a:schemeClr val="bg1"/>
                </a:solidFill>
                <a:effectLst/>
                <a:latin typeface="RR Pioneer UltraLight Condensed" panose="020B0206030201060103" pitchFamily="34" charset="0"/>
                <a:ea typeface="+mn-ea"/>
                <a:cs typeface="+mn-cs"/>
              </a:rPr>
              <a:t>Statement::</a:t>
            </a:r>
          </a:p>
          <a:p>
            <a:pPr marL="0" algn="l" defTabSz="914388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267"/>
              </a:spcAft>
            </a:pPr>
            <a:r>
              <a:rPr lang="en-GB" sz="800" b="0" i="0" kern="1200">
                <a:solidFill>
                  <a:schemeClr val="bg1"/>
                </a:solidFill>
                <a:effectLst/>
                <a:latin typeface="RR Pioneer UltraLight Condensed" panose="020B0206030201060103" pitchFamily="34" charset="0"/>
                <a:ea typeface="+mn-ea"/>
                <a:cs typeface="+mn-cs"/>
              </a:rPr>
              <a:t>© 2020 Rolls-Royce and/or its subsidiaries</a:t>
            </a:r>
          </a:p>
          <a:p>
            <a:pPr marL="0" algn="l" defTabSz="914388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267"/>
              </a:spcAft>
            </a:pPr>
            <a:endParaRPr lang="en-GB" sz="800" b="0" i="0" kern="1200">
              <a:solidFill>
                <a:schemeClr val="bg1"/>
              </a:solidFill>
              <a:effectLst/>
              <a:latin typeface="RR Pioneer UltraLight Condensed" panose="020B0206030201060103" pitchFamily="34" charset="0"/>
              <a:ea typeface="+mn-ea"/>
              <a:cs typeface="+mn-cs"/>
            </a:endParaRPr>
          </a:p>
          <a:p>
            <a:pPr marL="0" algn="l" defTabSz="914388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267"/>
              </a:spcAft>
            </a:pPr>
            <a:r>
              <a:rPr lang="en-GB" sz="800" b="0" i="0" kern="1200">
                <a:solidFill>
                  <a:schemeClr val="bg1"/>
                </a:solidFill>
                <a:effectLst/>
                <a:latin typeface="RR Pioneer UltraLight Condensed" panose="020B0206030201060103" pitchFamily="34" charset="0"/>
                <a:ea typeface="+mn-ea"/>
                <a:cs typeface="+mn-cs"/>
              </a:rPr>
              <a:t>Private - The information in this document is proprietary and confidential to Rolls‑Royce and is available to authorised recipients only – copying and onward distribution is prohibited other than for the purpose for which it was created.</a:t>
            </a:r>
          </a:p>
          <a:p>
            <a:pPr marL="0" algn="l" defTabSz="914388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267"/>
              </a:spcAft>
            </a:pPr>
            <a:endParaRPr lang="en-GB" sz="800" b="0" i="0" kern="1200">
              <a:solidFill>
                <a:schemeClr val="bg1"/>
              </a:solidFill>
              <a:effectLst/>
              <a:latin typeface="RR Pioneer UltraLight Condensed" panose="020B0206030201060103" pitchFamily="34" charset="0"/>
              <a:ea typeface="+mn-ea"/>
              <a:cs typeface="+mn-cs"/>
            </a:endParaRPr>
          </a:p>
          <a:p>
            <a:pPr marL="0" algn="l" defTabSz="914388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267"/>
              </a:spcAft>
            </a:pPr>
            <a:r>
              <a:rPr lang="en-GB" sz="800" b="0" i="0" kern="1200">
                <a:solidFill>
                  <a:schemeClr val="bg1"/>
                </a:solidFill>
                <a:effectLst/>
                <a:latin typeface="RR Pioneer UltraLight Condensed" panose="020B0206030201060103" pitchFamily="34" charset="0"/>
                <a:ea typeface="+mn-ea"/>
                <a:cs typeface="+mn-cs"/>
              </a:rPr>
              <a:t>Private | Rolls-Royce content only | Not subject to Export Control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1AC0688-F52D-F34E-B3D3-55501121ABA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63126" y="314236"/>
            <a:ext cx="959247" cy="1560869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10B49E-C956-4407-B999-F88F1FA6F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6B4624-DA49-4DF6-A561-977EFFDF4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Picture 9" descr="Shape, polygon&#10;&#10;Description automatically generated">
            <a:extLst>
              <a:ext uri="{FF2B5EF4-FFF2-40B4-BE49-F238E27FC236}">
                <a16:creationId xmlns:a16="http://schemas.microsoft.com/office/drawing/2014/main" id="{65CE3176-2BA5-964F-A124-884CE260161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5760000" cy="4169120"/>
          </a:xfrm>
          <a:prstGeom prst="rect">
            <a:avLst/>
          </a:prstGeom>
        </p:spPr>
      </p:pic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939D4E66-2813-A448-848B-8307E43FE74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000936" y="6307200"/>
            <a:ext cx="759064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0614823-2ED0-4093-A704-AD1E5AB30429}" type="datetime1">
              <a:rPr lang="en-GB" smtClean="0"/>
              <a:t>23/03/2023</a:t>
            </a:fld>
            <a:endParaRPr lang="en-GB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EB45BF41-8E54-B042-A1AF-CE9D271AE56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868" y="581464"/>
            <a:ext cx="3140227" cy="96023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7472775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- Export con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9EC6EB6-0EEE-4BBB-B4A6-72BF5D802D88}"/>
              </a:ext>
            </a:extLst>
          </p:cNvPr>
          <p:cNvSpPr/>
          <p:nvPr userDrawn="1"/>
        </p:nvSpPr>
        <p:spPr>
          <a:xfrm>
            <a:off x="3024721" y="0"/>
            <a:ext cx="9167281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6AA855-7E6E-4927-A811-F63C0750684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647016" y="1312185"/>
            <a:ext cx="8112000" cy="1665600"/>
          </a:xfrm>
        </p:spPr>
        <p:txBody>
          <a:bodyPr anchor="b">
            <a:noAutofit/>
          </a:bodyPr>
          <a:lstStyle>
            <a:lvl1pPr algn="l"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</a:t>
            </a:r>
            <a:br>
              <a:rPr lang="en-GB"/>
            </a:br>
            <a:r>
              <a:rPr lang="en-GB"/>
              <a:t>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B0B840D-89AD-469A-9906-0384E3FD26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48000" y="3040185"/>
            <a:ext cx="8112000" cy="446400"/>
          </a:xfrm>
        </p:spPr>
        <p:txBody>
          <a:bodyPr>
            <a:noAutofit/>
          </a:bodyPr>
          <a:lstStyle>
            <a:lvl1pPr marL="0" indent="0" algn="l">
              <a:buNone/>
              <a:defRPr lang="en-US" sz="2667" kern="1200" dirty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  <a:lvl2pPr marL="457195" indent="0" algn="ctr">
              <a:buNone/>
              <a:defRPr sz="2000"/>
            </a:lvl2pPr>
            <a:lvl3pPr marL="914388" indent="0" algn="ctr">
              <a:buNone/>
              <a:defRPr sz="1800"/>
            </a:lvl3pPr>
            <a:lvl4pPr marL="1371583" indent="0" algn="ctr">
              <a:buNone/>
              <a:defRPr sz="1600"/>
            </a:lvl4pPr>
            <a:lvl5pPr marL="1828777" indent="0" algn="ctr">
              <a:buNone/>
              <a:defRPr sz="1600"/>
            </a:lvl5pPr>
            <a:lvl6pPr marL="2285971" indent="0" algn="ctr">
              <a:buNone/>
              <a:defRPr sz="1600"/>
            </a:lvl6pPr>
            <a:lvl7pPr marL="2743166" indent="0" algn="ctr">
              <a:buNone/>
              <a:defRPr sz="1600"/>
            </a:lvl7pPr>
            <a:lvl8pPr marL="3200360" indent="0" algn="ctr">
              <a:buNone/>
              <a:defRPr sz="1600"/>
            </a:lvl8pPr>
            <a:lvl9pPr marL="3657554" indent="0" algn="ctr">
              <a:buNone/>
              <a:defRPr sz="1600"/>
            </a:lvl9pPr>
          </a:lstStyle>
          <a:p>
            <a:r>
              <a:rPr lang="en-US"/>
              <a:t>Presentation sub-tit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9FCDBA-3B9B-4385-BED9-F418223EB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0614823-2ED0-4093-A704-AD1E5AB30429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10B49E-C956-4407-B999-F88F1FA6F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6B4624-DA49-4DF6-A561-977EFFDF4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7E86416-DF3C-4150-A8E7-60289DFFAE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47019" y="3553785"/>
            <a:ext cx="8111067" cy="326400"/>
          </a:xfrm>
        </p:spPr>
        <p:txBody>
          <a:bodyPr>
            <a:no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uthor Name, Job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87897AC3-FB94-4825-8939-95C9C02349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48000" y="3942585"/>
            <a:ext cx="8111067" cy="326400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XXXX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3346D7C4-096A-4546-981B-47B5DF66AA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1803" y="4070400"/>
            <a:ext cx="2164800" cy="1920000"/>
          </a:xfrm>
        </p:spPr>
        <p:txBody>
          <a:bodyPr anchor="b" anchorCtr="0">
            <a:noAutofit/>
          </a:bodyPr>
          <a:lstStyle>
            <a:lvl1pPr>
              <a:defRPr sz="1067">
                <a:solidFill>
                  <a:srgbClr val="666666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BUSINESS STATEMENT: Insert mandatory statement, this can be copied and pasted from the markings summary slide. 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23CD3FFE-B4FD-4319-BC0B-255BAFEF989F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679926483"/>
              </p:ext>
            </p:extLst>
          </p:nvPr>
        </p:nvGraphicFramePr>
        <p:xfrm>
          <a:off x="3647017" y="4452572"/>
          <a:ext cx="8113185" cy="1460213"/>
        </p:xfrm>
        <a:graphic>
          <a:graphicData uri="http://schemas.openxmlformats.org/drawingml/2006/table">
            <a:tbl>
              <a:tblPr firstRow="1" bandRow="1"/>
              <a:tblGrid>
                <a:gridCol w="2704396">
                  <a:extLst>
                    <a:ext uri="{9D8B030D-6E8A-4147-A177-3AD203B41FA5}">
                      <a16:colId xmlns:a16="http://schemas.microsoft.com/office/drawing/2014/main" val="1311732103"/>
                    </a:ext>
                  </a:extLst>
                </a:gridCol>
                <a:gridCol w="2704396">
                  <a:extLst>
                    <a:ext uri="{9D8B030D-6E8A-4147-A177-3AD203B41FA5}">
                      <a16:colId xmlns:a16="http://schemas.microsoft.com/office/drawing/2014/main" val="2932825049"/>
                    </a:ext>
                  </a:extLst>
                </a:gridCol>
                <a:gridCol w="2704396">
                  <a:extLst>
                    <a:ext uri="{9D8B030D-6E8A-4147-A177-3AD203B41FA5}">
                      <a16:colId xmlns:a16="http://schemas.microsoft.com/office/drawing/2014/main" val="1377039470"/>
                    </a:ext>
                  </a:extLst>
                </a:gridCol>
              </a:tblGrid>
              <a:tr h="670560">
                <a:tc gridSpan="3"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9pPr>
                    </a:lstStyle>
                    <a:p>
                      <a:pPr algn="ctr"/>
                      <a:r>
                        <a:rPr lang="en-GB" sz="1200">
                          <a:solidFill>
                            <a:schemeClr val="bg1"/>
                          </a:solidFill>
                          <a:latin typeface="RR Pioneer" panose="020B0503050201040103" pitchFamily="34" charset="0"/>
                        </a:rPr>
                        <a:t>This document is subject to the following Export Control Information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11746911"/>
                  </a:ext>
                </a:extLst>
              </a:tr>
              <a:tr h="670560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9pPr>
                    </a:lstStyle>
                    <a:p>
                      <a:pPr algn="ctr"/>
                      <a:r>
                        <a:rPr lang="en-GB" sz="1200">
                          <a:solidFill>
                            <a:schemeClr val="bg1"/>
                          </a:solidFill>
                          <a:latin typeface="RR Pioneer" panose="020B0503050201040103" pitchFamily="34" charset="0"/>
                        </a:rPr>
                        <a:t>Country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9pPr>
                    </a:lstStyle>
                    <a:p>
                      <a:pPr algn="ctr"/>
                      <a:r>
                        <a:rPr lang="en-GB" sz="1200">
                          <a:solidFill>
                            <a:schemeClr val="bg1"/>
                          </a:solidFill>
                          <a:latin typeface="RR Pioneer" panose="020B0503050201040103" pitchFamily="34" charset="0"/>
                        </a:rPr>
                        <a:t>Export Classification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9pPr>
                    </a:lstStyle>
                    <a:p>
                      <a:pPr algn="ctr"/>
                      <a:r>
                        <a:rPr lang="en-GB" sz="1200">
                          <a:solidFill>
                            <a:schemeClr val="bg1"/>
                          </a:solidFill>
                          <a:latin typeface="RR Pioneer" panose="020B0503050201040103" pitchFamily="34" charset="0"/>
                        </a:rPr>
                        <a:t>Date</a:t>
                      </a: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4109106"/>
                  </a:ext>
                </a:extLst>
              </a:tr>
              <a:tr h="425307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9pPr>
                    </a:lstStyle>
                    <a:p>
                      <a:endParaRPr lang="en-GB" sz="1900">
                        <a:solidFill>
                          <a:schemeClr val="bg1"/>
                        </a:solidFill>
                        <a:latin typeface="RR Pioneer" panose="020B0503050201040103" pitchFamily="34" charset="0"/>
                      </a:endParaRP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9pPr>
                    </a:lstStyle>
                    <a:p>
                      <a:endParaRPr lang="en-GB" sz="1900">
                        <a:solidFill>
                          <a:schemeClr val="bg1"/>
                        </a:solidFill>
                        <a:latin typeface="RR Pioneer" panose="020B0503050201040103" pitchFamily="34" charset="0"/>
                      </a:endParaRP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9pPr>
                    </a:lstStyle>
                    <a:p>
                      <a:endParaRPr lang="en-GB" sz="1900">
                        <a:solidFill>
                          <a:schemeClr val="bg1"/>
                        </a:solidFill>
                        <a:latin typeface="RR Pioneer" panose="020B0503050201040103" pitchFamily="34" charset="0"/>
                      </a:endParaRP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3941994"/>
                  </a:ext>
                </a:extLst>
              </a:tr>
              <a:tr h="425307"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9pPr>
                    </a:lstStyle>
                    <a:p>
                      <a:endParaRPr lang="en-GB" sz="1900">
                        <a:solidFill>
                          <a:schemeClr val="bg1"/>
                        </a:solidFill>
                        <a:latin typeface="RR Pioneer" panose="020B0503050201040103" pitchFamily="34" charset="0"/>
                      </a:endParaRP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9pPr>
                    </a:lstStyle>
                    <a:p>
                      <a:endParaRPr lang="en-GB" sz="1900">
                        <a:solidFill>
                          <a:schemeClr val="bg1"/>
                        </a:solidFill>
                        <a:latin typeface="RR Pioneer" panose="020B0503050201040103" pitchFamily="34" charset="0"/>
                      </a:endParaRP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1pPr>
                      <a:lvl2pPr marL="3429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2pPr>
                      <a:lvl3pPr marL="6858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3pPr>
                      <a:lvl4pPr marL="10287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4pPr>
                      <a:lvl5pPr marL="13716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5pPr>
                      <a:lvl6pPr marL="17145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6pPr>
                      <a:lvl7pPr marL="20574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7pPr>
                      <a:lvl8pPr marL="24003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8pPr>
                      <a:lvl9pPr marL="2743200" algn="l" defTabSz="685800" rtl="0" eaLnBrk="1" latinLnBrk="0" hangingPunct="1">
                        <a:defRPr sz="1350" kern="1200">
                          <a:solidFill>
                            <a:schemeClr val="tx1"/>
                          </a:solidFill>
                          <a:latin typeface="RR Pioneer"/>
                        </a:defRPr>
                      </a:lvl9pPr>
                    </a:lstStyle>
                    <a:p>
                      <a:endParaRPr lang="en-GB" sz="1900">
                        <a:solidFill>
                          <a:schemeClr val="bg1"/>
                        </a:solidFill>
                        <a:latin typeface="RR Pioneer" panose="020B0503050201040103" pitchFamily="34" charset="0"/>
                      </a:endParaRPr>
                    </a:p>
                  </a:txBody>
                  <a:tcPr marL="121920" marR="121920" marT="60960" marB="6096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4885933"/>
                  </a:ext>
                </a:extLst>
              </a:tr>
            </a:tbl>
          </a:graphicData>
        </a:graphic>
      </p:graphicFrame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A801F9D5-0A32-4DE1-9377-D59BE787AAB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48001" y="5123385"/>
            <a:ext cx="2673600" cy="792000"/>
          </a:xfrm>
        </p:spPr>
        <p:txBody>
          <a:bodyPr>
            <a:normAutofit/>
          </a:bodyPr>
          <a:lstStyle>
            <a:lvl1pPr algn="ctr">
              <a:defRPr sz="10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704AEA61-F308-493F-B5DC-9F6FA87EF52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84001" y="5123385"/>
            <a:ext cx="2654400" cy="792000"/>
          </a:xfrm>
        </p:spPr>
        <p:txBody>
          <a:bodyPr>
            <a:normAutofit/>
          </a:bodyPr>
          <a:lstStyle>
            <a:lvl1pPr marL="0" marR="0" indent="0" algn="ctr" defTabSz="91438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CB52E09F-28F7-4386-8813-1A24206A80F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81600" y="5123385"/>
            <a:ext cx="2678400" cy="792000"/>
          </a:xfrm>
        </p:spPr>
        <p:txBody>
          <a:bodyPr>
            <a:normAutofit/>
          </a:bodyPr>
          <a:lstStyle>
            <a:lvl1pPr algn="ctr">
              <a:defRPr sz="10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F272C130-F343-4C01-8F73-979904DD265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48000" y="6044985"/>
            <a:ext cx="8112000" cy="628800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XXXX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E66267C-D231-4480-9FE7-47C80CBF3DAB}"/>
              </a:ext>
            </a:extLst>
          </p:cNvPr>
          <p:cNvGrpSpPr/>
          <p:nvPr userDrawn="1"/>
        </p:nvGrpSpPr>
        <p:grpSpPr>
          <a:xfrm>
            <a:off x="1020975" y="2230120"/>
            <a:ext cx="959247" cy="1559573"/>
            <a:chOff x="-3513606" y="270529"/>
            <a:chExt cx="1671638" cy="2717801"/>
          </a:xfrm>
        </p:grpSpPr>
        <p:sp>
          <p:nvSpPr>
            <p:cNvPr id="24" name="Freeform 5">
              <a:extLst>
                <a:ext uri="{FF2B5EF4-FFF2-40B4-BE49-F238E27FC236}">
                  <a16:creationId xmlns:a16="http://schemas.microsoft.com/office/drawing/2014/main" id="{CE89E7AF-EC1B-4360-98C7-5641C6627B9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A0A95A47-8F22-4769-B510-034047D7654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Freeform 7">
              <a:extLst>
                <a:ext uri="{FF2B5EF4-FFF2-40B4-BE49-F238E27FC236}">
                  <a16:creationId xmlns:a16="http://schemas.microsoft.com/office/drawing/2014/main" id="{2CA32FF8-B4DB-420F-8611-BF17C6A730F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7" name="Picture 26" descr="Shape, polygon&#10;&#10;Description automatically generated">
            <a:extLst>
              <a:ext uri="{FF2B5EF4-FFF2-40B4-BE49-F238E27FC236}">
                <a16:creationId xmlns:a16="http://schemas.microsoft.com/office/drawing/2014/main" id="{E6565C56-14E1-D843-A1E5-89D01A1DE6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016" y="0"/>
            <a:ext cx="5758985" cy="416912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093E51E6-2A2D-044F-8F26-CFEA593A27E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2654" y="579637"/>
            <a:ext cx="2747205" cy="84005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8007421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F66933E-E17F-4B66-B4D5-DA383FF768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31097" y="0"/>
            <a:ext cx="9160905" cy="6858000"/>
          </a:xfrm>
          <a:solidFill>
            <a:srgbClr val="8A8A8F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F282B9F-0E2D-7543-BE99-91FEB9BCE5F3}"/>
              </a:ext>
            </a:extLst>
          </p:cNvPr>
          <p:cNvSpPr/>
          <p:nvPr userDrawn="1"/>
        </p:nvSpPr>
        <p:spPr>
          <a:xfrm>
            <a:off x="3031095" y="4055533"/>
            <a:ext cx="9152024" cy="28024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10B49E-C956-4407-B999-F88F1FA6F8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6B4624-DA49-4DF6-A561-977EFFDF44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21" name="Text Placeholder 19">
            <a:extLst>
              <a:ext uri="{FF2B5EF4-FFF2-40B4-BE49-F238E27FC236}">
                <a16:creationId xmlns:a16="http://schemas.microsoft.com/office/drawing/2014/main" id="{DBCF3A6C-3424-46D4-9092-264CD734E34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24719" y="4055533"/>
            <a:ext cx="9158400" cy="2802467"/>
          </a:xfrm>
          <a:noFill/>
        </p:spPr>
        <p:txBody>
          <a:bodyPr lIns="432000" tIns="180000" bIns="1908000">
            <a:noAutofit/>
          </a:bodyPr>
          <a:lstStyle>
            <a:lvl1pPr>
              <a:defRPr sz="3733" b="1">
                <a:solidFill>
                  <a:schemeClr val="bg1"/>
                </a:solidFill>
              </a:defRPr>
            </a:lvl1pPr>
          </a:lstStyle>
          <a:p>
            <a:pPr lvl="0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7567FE7-2FAD-4166-944B-875038CD375F}"/>
              </a:ext>
            </a:extLst>
          </p:cNvPr>
          <p:cNvGrpSpPr/>
          <p:nvPr userDrawn="1"/>
        </p:nvGrpSpPr>
        <p:grpSpPr>
          <a:xfrm>
            <a:off x="1020975" y="2230120"/>
            <a:ext cx="959247" cy="1559573"/>
            <a:chOff x="-3513606" y="270529"/>
            <a:chExt cx="1671638" cy="2717801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43E968E-A60B-4169-B81A-0AC22E890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5B140CBC-BFAB-4960-B4B6-B0ACA672537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11E5321F-62B1-431D-9BC2-DA0F875063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2" name="Picture 21" descr="Shape, polygon&#10;&#10;Description automatically generated">
            <a:extLst>
              <a:ext uri="{FF2B5EF4-FFF2-40B4-BE49-F238E27FC236}">
                <a16:creationId xmlns:a16="http://schemas.microsoft.com/office/drawing/2014/main" id="{AD4D0F55-594D-DF4B-8C6D-0CF37B5AB95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4134" y="4055535"/>
            <a:ext cx="5758985" cy="416912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8B0B840D-89AD-469A-9906-0384E3FD26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648000" y="4915200"/>
            <a:ext cx="8112000" cy="446400"/>
          </a:xfrm>
        </p:spPr>
        <p:txBody>
          <a:bodyPr>
            <a:noAutofit/>
          </a:bodyPr>
          <a:lstStyle>
            <a:lvl1pPr marL="0" indent="0" algn="l">
              <a:buNone/>
              <a:defRPr lang="en-US" sz="2667" kern="1200" dirty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  <a:lvl2pPr marL="457195" indent="0" algn="ctr">
              <a:buNone/>
              <a:defRPr sz="2000"/>
            </a:lvl2pPr>
            <a:lvl3pPr marL="914388" indent="0" algn="ctr">
              <a:buNone/>
              <a:defRPr sz="1800"/>
            </a:lvl3pPr>
            <a:lvl4pPr marL="1371583" indent="0" algn="ctr">
              <a:buNone/>
              <a:defRPr sz="1600"/>
            </a:lvl4pPr>
            <a:lvl5pPr marL="1828777" indent="0" algn="ctr">
              <a:buNone/>
              <a:defRPr sz="1600"/>
            </a:lvl5pPr>
            <a:lvl6pPr marL="2285971" indent="0" algn="ctr">
              <a:buNone/>
              <a:defRPr sz="1600"/>
            </a:lvl6pPr>
            <a:lvl7pPr marL="2743166" indent="0" algn="ctr">
              <a:buNone/>
              <a:defRPr sz="1600"/>
            </a:lvl7pPr>
            <a:lvl8pPr marL="3200360" indent="0" algn="ctr">
              <a:buNone/>
              <a:defRPr sz="1600"/>
            </a:lvl8pPr>
            <a:lvl9pPr marL="3657554" indent="0" algn="ctr">
              <a:buNone/>
              <a:defRPr sz="1600"/>
            </a:lvl9pPr>
          </a:lstStyle>
          <a:p>
            <a:r>
              <a:rPr lang="en-US"/>
              <a:t>Presentation sub-title</a:t>
            </a:r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7E86416-DF3C-4150-A8E7-60289DFFAED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47019" y="5390400"/>
            <a:ext cx="8111067" cy="326400"/>
          </a:xfrm>
        </p:spPr>
        <p:txBody>
          <a:bodyPr>
            <a:no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uthor Name, Job Tit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87897AC3-FB94-4825-8939-95C9C02349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48000" y="5764800"/>
            <a:ext cx="8111067" cy="326400"/>
          </a:xfrm>
        </p:spPr>
        <p:txBody>
          <a:bodyPr>
            <a:normAutofit/>
          </a:bodyPr>
          <a:lstStyle>
            <a:lvl1pPr>
              <a:defRPr sz="13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XX Month XXXX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9FCDBA-3B9B-4385-BED9-F418223EBB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9DF0327-116C-4E09-9346-54D9E5B5A013}" type="datetime1">
              <a:rPr lang="en-GB" smtClean="0"/>
              <a:t>23/03/2023</a:t>
            </a:fld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100090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- Colbal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E3273D-D190-43EA-AB9F-F4E0C3DE2A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601" y="1243200"/>
            <a:ext cx="2404800" cy="2188800"/>
          </a:xfrm>
        </p:spPr>
        <p:txBody>
          <a:bodyPr anchor="ctr" anchorCtr="0">
            <a:noAutofit/>
          </a:bodyPr>
          <a:lstStyle>
            <a:lvl1pPr algn="r">
              <a:defRPr sz="14666">
                <a:solidFill>
                  <a:schemeClr val="bg1"/>
                </a:solidFill>
                <a:latin typeface="RR Pioneer UltraLight Condensed" panose="020B0206030201060103" pitchFamily="34" charset="0"/>
              </a:defRPr>
            </a:lvl1pPr>
          </a:lstStyle>
          <a:p>
            <a:r>
              <a:rPr lang="en-US"/>
              <a:t>XX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AD4DAF-CD34-4819-9611-33C813C52E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A416D7-3C3C-4D04-A39E-2C3E4A2D16CA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D09A4-D7CF-4D1D-8376-A6317B2D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87183-9305-4CC7-88E3-CD4694340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AABB29-22AC-4C62-A174-9E5A0A1EFA21}"/>
              </a:ext>
            </a:extLst>
          </p:cNvPr>
          <p:cNvSpPr/>
          <p:nvPr userDrawn="1"/>
        </p:nvSpPr>
        <p:spPr>
          <a:xfrm>
            <a:off x="431799" y="1222000"/>
            <a:ext cx="2772495" cy="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1EF98E9-3947-4FA3-929D-B815CFDD5A3E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ECAF427-7230-413A-854B-353596E685C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FF55E566-BBF5-41D1-9A04-C8E8ACB413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27B2CF71-3A49-4D8B-93BD-98759F7760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0" name="Picture 19" descr="Shape, polygon&#10;&#10;Description automatically generated">
            <a:extLst>
              <a:ext uri="{FF2B5EF4-FFF2-40B4-BE49-F238E27FC236}">
                <a16:creationId xmlns:a16="http://schemas.microsoft.com/office/drawing/2014/main" id="{2E51ACA7-F868-2D47-A427-E9C26C7F3C6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016" y="0"/>
            <a:ext cx="5758985" cy="4169120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0021B20-6F0E-4481-874A-F21AE9FD3CC4}"/>
              </a:ext>
            </a:extLst>
          </p:cNvPr>
          <p:cNvSpPr/>
          <p:nvPr userDrawn="1"/>
        </p:nvSpPr>
        <p:spPr>
          <a:xfrm>
            <a:off x="4078815" y="1222000"/>
            <a:ext cx="7681384" cy="10160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DA88272-0989-4751-9FC4-6BE74AD9E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94401" y="1502401"/>
            <a:ext cx="7665600" cy="1924800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4267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C14B21A9-CEF9-0C4A-9E40-10EF023A44D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2663" y="346264"/>
            <a:ext cx="2397509" cy="73312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5755779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Page - Colbal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A picture containing radar chart&#10;&#10;Description automatically generated">
            <a:extLst>
              <a:ext uri="{FF2B5EF4-FFF2-40B4-BE49-F238E27FC236}">
                <a16:creationId xmlns:a16="http://schemas.microsoft.com/office/drawing/2014/main" id="{03659BC4-069F-DA47-BE55-0143840EC3E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1DEF18C-3D4F-7744-9165-5B01A727D49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8819" y="193145"/>
            <a:ext cx="2668541" cy="816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8E3273D-D190-43EA-AB9F-F4E0C3DE2A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601" y="1243200"/>
            <a:ext cx="2404800" cy="2188800"/>
          </a:xfrm>
        </p:spPr>
        <p:txBody>
          <a:bodyPr anchor="ctr" anchorCtr="0">
            <a:noAutofit/>
          </a:bodyPr>
          <a:lstStyle>
            <a:lvl1pPr algn="r">
              <a:defRPr sz="14666">
                <a:solidFill>
                  <a:schemeClr val="bg1"/>
                </a:solidFill>
                <a:latin typeface="RR Pioneer UltraLight Condensed" panose="020B0206030201060103" pitchFamily="34" charset="0"/>
              </a:defRPr>
            </a:lvl1pPr>
          </a:lstStyle>
          <a:p>
            <a:r>
              <a:rPr lang="en-US"/>
              <a:t>XX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AD4DAF-CD34-4819-9611-33C813C52E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A416D7-3C3C-4D04-A39E-2C3E4A2D16CA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D09A4-D7CF-4D1D-8376-A6317B2D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87183-9305-4CC7-88E3-CD4694340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AABB29-22AC-4C62-A174-9E5A0A1EFA21}"/>
              </a:ext>
            </a:extLst>
          </p:cNvPr>
          <p:cNvSpPr/>
          <p:nvPr userDrawn="1"/>
        </p:nvSpPr>
        <p:spPr>
          <a:xfrm>
            <a:off x="431799" y="1222000"/>
            <a:ext cx="2772495" cy="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1EF98E9-3947-4FA3-929D-B815CFDD5A3E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ECAF427-7230-413A-854B-353596E685C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FF55E566-BBF5-41D1-9A04-C8E8ACB413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27B2CF71-3A49-4D8B-93BD-98759F7760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0021B20-6F0E-4481-874A-F21AE9FD3CC4}"/>
              </a:ext>
            </a:extLst>
          </p:cNvPr>
          <p:cNvSpPr/>
          <p:nvPr userDrawn="1"/>
        </p:nvSpPr>
        <p:spPr>
          <a:xfrm>
            <a:off x="4078815" y="1222000"/>
            <a:ext cx="7681384" cy="10160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DA88272-0989-4751-9FC4-6BE74AD9E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94401" y="1502401"/>
            <a:ext cx="7665600" cy="1924800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4267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1257677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 Page - Colbal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Shape, polygon&#10;&#10;Description automatically generated">
            <a:extLst>
              <a:ext uri="{FF2B5EF4-FFF2-40B4-BE49-F238E27FC236}">
                <a16:creationId xmlns:a16="http://schemas.microsoft.com/office/drawing/2014/main" id="{608AA19E-9786-8248-BB13-B72CABB0D74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6203" y="2"/>
            <a:ext cx="5760000" cy="4169855"/>
          </a:xfrm>
          <a:prstGeom prst="rect">
            <a:avLst/>
          </a:prstGeom>
        </p:spPr>
      </p:pic>
      <p:pic>
        <p:nvPicPr>
          <p:cNvPr id="7" name="Picture 6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E83E28C4-86F1-724E-8ABF-733F6802D6F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8819" y="193147"/>
            <a:ext cx="2668541" cy="816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8E3273D-D190-43EA-AB9F-F4E0C3DE2A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601" y="1243200"/>
            <a:ext cx="2404800" cy="2188800"/>
          </a:xfrm>
        </p:spPr>
        <p:txBody>
          <a:bodyPr anchor="ctr" anchorCtr="0">
            <a:noAutofit/>
          </a:bodyPr>
          <a:lstStyle>
            <a:lvl1pPr algn="r">
              <a:defRPr sz="14666">
                <a:solidFill>
                  <a:schemeClr val="bg1"/>
                </a:solidFill>
                <a:latin typeface="RR Pioneer UltraLight Condensed" panose="020B0206030201060103" pitchFamily="34" charset="0"/>
              </a:defRPr>
            </a:lvl1pPr>
          </a:lstStyle>
          <a:p>
            <a:r>
              <a:rPr lang="en-US"/>
              <a:t>XX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AD4DAF-CD34-4819-9611-33C813C52E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A416D7-3C3C-4D04-A39E-2C3E4A2D16CA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D09A4-D7CF-4D1D-8376-A6317B2D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87183-9305-4CC7-88E3-CD4694340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AABB29-22AC-4C62-A174-9E5A0A1EFA21}"/>
              </a:ext>
            </a:extLst>
          </p:cNvPr>
          <p:cNvSpPr/>
          <p:nvPr userDrawn="1"/>
        </p:nvSpPr>
        <p:spPr>
          <a:xfrm>
            <a:off x="431799" y="1222000"/>
            <a:ext cx="2772495" cy="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1EF98E9-3947-4FA3-929D-B815CFDD5A3E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ECAF427-7230-413A-854B-353596E685C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FF55E566-BBF5-41D1-9A04-C8E8ACB413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27B2CF71-3A49-4D8B-93BD-98759F7760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0021B20-6F0E-4481-874A-F21AE9FD3CC4}"/>
              </a:ext>
            </a:extLst>
          </p:cNvPr>
          <p:cNvSpPr/>
          <p:nvPr userDrawn="1"/>
        </p:nvSpPr>
        <p:spPr>
          <a:xfrm>
            <a:off x="4078815" y="1222000"/>
            <a:ext cx="7681384" cy="10160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DA88272-0989-4751-9FC4-6BE74AD9E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94401" y="1502401"/>
            <a:ext cx="7665600" cy="1924800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4267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176561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 Page - Colbal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Radar chart&#10;&#10;Description automatically generated">
            <a:extLst>
              <a:ext uri="{FF2B5EF4-FFF2-40B4-BE49-F238E27FC236}">
                <a16:creationId xmlns:a16="http://schemas.microsoft.com/office/drawing/2014/main" id="{096AB90F-D042-9B42-86C3-44BA28D04F3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  <p:pic>
        <p:nvPicPr>
          <p:cNvPr id="8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2A254FE5-E637-5D42-8C32-2FCFFAA9215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870" y="189413"/>
            <a:ext cx="2692973" cy="82347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8E3273D-D190-43EA-AB9F-F4E0C3DE2A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601" y="1243200"/>
            <a:ext cx="2404800" cy="2188800"/>
          </a:xfrm>
        </p:spPr>
        <p:txBody>
          <a:bodyPr anchor="ctr" anchorCtr="0">
            <a:noAutofit/>
          </a:bodyPr>
          <a:lstStyle>
            <a:lvl1pPr algn="r">
              <a:defRPr sz="14666">
                <a:solidFill>
                  <a:schemeClr val="bg1"/>
                </a:solidFill>
                <a:latin typeface="RR Pioneer UltraLight Condensed" panose="020B0206030201060103" pitchFamily="34" charset="0"/>
              </a:defRPr>
            </a:lvl1pPr>
          </a:lstStyle>
          <a:p>
            <a:r>
              <a:rPr lang="en-US"/>
              <a:t>XX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AD4DAF-CD34-4819-9611-33C813C52E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A416D7-3C3C-4D04-A39E-2C3E4A2D16CA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D09A4-D7CF-4D1D-8376-A6317B2D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87183-9305-4CC7-88E3-CD4694340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AABB29-22AC-4C62-A174-9E5A0A1EFA21}"/>
              </a:ext>
            </a:extLst>
          </p:cNvPr>
          <p:cNvSpPr/>
          <p:nvPr userDrawn="1"/>
        </p:nvSpPr>
        <p:spPr>
          <a:xfrm>
            <a:off x="431799" y="1222000"/>
            <a:ext cx="2772495" cy="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1EF98E9-3947-4FA3-929D-B815CFDD5A3E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ECAF427-7230-413A-854B-353596E685C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FF55E566-BBF5-41D1-9A04-C8E8ACB413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27B2CF71-3A49-4D8B-93BD-98759F7760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0021B20-6F0E-4481-874A-F21AE9FD3CC4}"/>
              </a:ext>
            </a:extLst>
          </p:cNvPr>
          <p:cNvSpPr/>
          <p:nvPr userDrawn="1"/>
        </p:nvSpPr>
        <p:spPr>
          <a:xfrm>
            <a:off x="4078815" y="1222000"/>
            <a:ext cx="7681384" cy="10160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DA88272-0989-4751-9FC4-6BE74AD9E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94401" y="1502401"/>
            <a:ext cx="7665600" cy="1924800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4267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86454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- Turquoise">
    <p:bg>
      <p:bgPr>
        <a:solidFill>
          <a:srgbClr val="00BF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E3273D-D190-43EA-AB9F-F4E0C3DE2A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600" y="1243200"/>
            <a:ext cx="2404800" cy="2188800"/>
          </a:xfrm>
        </p:spPr>
        <p:txBody>
          <a:bodyPr anchor="ctr" anchorCtr="0">
            <a:noAutofit/>
          </a:bodyPr>
          <a:lstStyle>
            <a:lvl1pPr algn="r">
              <a:defRPr sz="14666">
                <a:solidFill>
                  <a:schemeClr val="bg1"/>
                </a:solidFill>
                <a:latin typeface="RR Pioneer UltraLight Condensed" panose="020B0206030201060103" pitchFamily="34" charset="0"/>
              </a:defRPr>
            </a:lvl1pPr>
          </a:lstStyle>
          <a:p>
            <a:r>
              <a:rPr lang="en-US"/>
              <a:t>XX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AD4DAF-CD34-4819-9611-33C813C52E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4CC526-9D86-4DF5-9A72-1C2E33A718C4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D09A4-D7CF-4D1D-8376-A6317B2D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87183-9305-4CC7-88E3-CD4694340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AABB29-22AC-4C62-A174-9E5A0A1EFA21}"/>
              </a:ext>
            </a:extLst>
          </p:cNvPr>
          <p:cNvSpPr/>
          <p:nvPr userDrawn="1"/>
        </p:nvSpPr>
        <p:spPr>
          <a:xfrm>
            <a:off x="431800" y="1222000"/>
            <a:ext cx="2772493" cy="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>
              <a:latin typeface="RR Pioneer" panose="020B0503050201040103" pitchFamily="34" charset="0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0021B20-6F0E-4481-874A-F21AE9FD3CC4}"/>
              </a:ext>
            </a:extLst>
          </p:cNvPr>
          <p:cNvSpPr/>
          <p:nvPr userDrawn="1"/>
        </p:nvSpPr>
        <p:spPr>
          <a:xfrm>
            <a:off x="4078816" y="1222000"/>
            <a:ext cx="7681384" cy="10160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>
              <a:latin typeface="RR Pioneer" panose="020B0503050201040103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DA88272-0989-4751-9FC4-6BE74AD9E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94400" y="1502401"/>
            <a:ext cx="7665600" cy="1924800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4267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2FE9341-C9B7-4A46-AC95-92BEC6BD5368}"/>
              </a:ext>
            </a:extLst>
          </p:cNvPr>
          <p:cNvGrpSpPr/>
          <p:nvPr userDrawn="1"/>
        </p:nvGrpSpPr>
        <p:grpSpPr>
          <a:xfrm>
            <a:off x="431801" y="311150"/>
            <a:ext cx="428348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7F5ECE0-F41A-43E1-852D-AE08E0AC789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DF97AB9-B7D8-433E-918E-AFDE0B9831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169D693B-70A2-4471-994A-6857EF5B21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34707375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ivider Page - Colbal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icture containing polygon&#10;&#10;Description automatically generated">
            <a:extLst>
              <a:ext uri="{FF2B5EF4-FFF2-40B4-BE49-F238E27FC236}">
                <a16:creationId xmlns:a16="http://schemas.microsoft.com/office/drawing/2014/main" id="{59C5DDE4-487D-2043-B71B-73231B3A97F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F703A9F-9B93-E746-B54C-7F5E09F536B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8873" y="189413"/>
            <a:ext cx="2703025" cy="82654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8E3273D-D190-43EA-AB9F-F4E0C3DE2A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601" y="1243200"/>
            <a:ext cx="2404800" cy="2188800"/>
          </a:xfrm>
        </p:spPr>
        <p:txBody>
          <a:bodyPr anchor="ctr" anchorCtr="0">
            <a:noAutofit/>
          </a:bodyPr>
          <a:lstStyle>
            <a:lvl1pPr algn="r">
              <a:defRPr sz="14666">
                <a:solidFill>
                  <a:schemeClr val="bg1"/>
                </a:solidFill>
                <a:latin typeface="RR Pioneer UltraLight Condensed" panose="020B0206030201060103" pitchFamily="34" charset="0"/>
              </a:defRPr>
            </a:lvl1pPr>
          </a:lstStyle>
          <a:p>
            <a:r>
              <a:rPr lang="en-US"/>
              <a:t>XX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AD4DAF-CD34-4819-9611-33C813C52E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A416D7-3C3C-4D04-A39E-2C3E4A2D16CA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D09A4-D7CF-4D1D-8376-A6317B2D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87183-9305-4CC7-88E3-CD4694340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AABB29-22AC-4C62-A174-9E5A0A1EFA21}"/>
              </a:ext>
            </a:extLst>
          </p:cNvPr>
          <p:cNvSpPr/>
          <p:nvPr userDrawn="1"/>
        </p:nvSpPr>
        <p:spPr>
          <a:xfrm>
            <a:off x="431799" y="1222000"/>
            <a:ext cx="2772495" cy="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1EF98E9-3947-4FA3-929D-B815CFDD5A3E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ECAF427-7230-413A-854B-353596E685C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FF55E566-BBF5-41D1-9A04-C8E8ACB413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27B2CF71-3A49-4D8B-93BD-98759F7760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0021B20-6F0E-4481-874A-F21AE9FD3CC4}"/>
              </a:ext>
            </a:extLst>
          </p:cNvPr>
          <p:cNvSpPr/>
          <p:nvPr userDrawn="1"/>
        </p:nvSpPr>
        <p:spPr>
          <a:xfrm>
            <a:off x="4078815" y="1222000"/>
            <a:ext cx="7681384" cy="10160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DA88272-0989-4751-9FC4-6BE74AD9E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94401" y="1502401"/>
            <a:ext cx="7665600" cy="1924800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4267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998438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Divider Page - Colbal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Shape, polygon&#10;&#10;Description automatically generated">
            <a:extLst>
              <a:ext uri="{FF2B5EF4-FFF2-40B4-BE49-F238E27FC236}">
                <a16:creationId xmlns:a16="http://schemas.microsoft.com/office/drawing/2014/main" id="{EECEA881-3F61-2345-87A5-747580B4F3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  <p:pic>
        <p:nvPicPr>
          <p:cNvPr id="8" name="Picture 7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C90439A-E7D2-2042-A61E-C797DCD126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6713" y="189411"/>
            <a:ext cx="2715185" cy="83026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8E3273D-D190-43EA-AB9F-F4E0C3DE2A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601" y="1243200"/>
            <a:ext cx="2404800" cy="2188800"/>
          </a:xfrm>
        </p:spPr>
        <p:txBody>
          <a:bodyPr anchor="ctr" anchorCtr="0">
            <a:noAutofit/>
          </a:bodyPr>
          <a:lstStyle>
            <a:lvl1pPr algn="r">
              <a:defRPr sz="14666">
                <a:solidFill>
                  <a:schemeClr val="bg1"/>
                </a:solidFill>
                <a:latin typeface="RR Pioneer UltraLight Condensed" panose="020B0206030201060103" pitchFamily="34" charset="0"/>
              </a:defRPr>
            </a:lvl1pPr>
          </a:lstStyle>
          <a:p>
            <a:r>
              <a:rPr lang="en-US"/>
              <a:t>XX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AD4DAF-CD34-4819-9611-33C813C52E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A416D7-3C3C-4D04-A39E-2C3E4A2D16CA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D09A4-D7CF-4D1D-8376-A6317B2D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87183-9305-4CC7-88E3-CD4694340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AABB29-22AC-4C62-A174-9E5A0A1EFA21}"/>
              </a:ext>
            </a:extLst>
          </p:cNvPr>
          <p:cNvSpPr/>
          <p:nvPr userDrawn="1"/>
        </p:nvSpPr>
        <p:spPr>
          <a:xfrm>
            <a:off x="431799" y="1222000"/>
            <a:ext cx="2772495" cy="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1EF98E9-3947-4FA3-929D-B815CFDD5A3E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BECAF427-7230-413A-854B-353596E685C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FF55E566-BBF5-41D1-9A04-C8E8ACB4138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27B2CF71-3A49-4D8B-93BD-98759F7760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0021B20-6F0E-4481-874A-F21AE9FD3CC4}"/>
              </a:ext>
            </a:extLst>
          </p:cNvPr>
          <p:cNvSpPr/>
          <p:nvPr userDrawn="1"/>
        </p:nvSpPr>
        <p:spPr>
          <a:xfrm>
            <a:off x="4078815" y="1222000"/>
            <a:ext cx="7681384" cy="10160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DA88272-0989-4751-9FC4-6BE74AD9E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94401" y="1502401"/>
            <a:ext cx="7665600" cy="1924800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4267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3994728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-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E3273D-D190-43EA-AB9F-F4E0C3DE2A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601" y="1243200"/>
            <a:ext cx="2404800" cy="2188800"/>
          </a:xfrm>
        </p:spPr>
        <p:txBody>
          <a:bodyPr anchor="ctr" anchorCtr="0">
            <a:noAutofit/>
          </a:bodyPr>
          <a:lstStyle>
            <a:lvl1pPr algn="r">
              <a:defRPr sz="14666">
                <a:solidFill>
                  <a:schemeClr val="bg1"/>
                </a:solidFill>
                <a:latin typeface="RR Pioneer UltraLight Condensed" panose="020B0206030201060103" pitchFamily="34" charset="0"/>
              </a:defRPr>
            </a:lvl1pPr>
          </a:lstStyle>
          <a:p>
            <a:r>
              <a:rPr lang="en-US"/>
              <a:t>XX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AD4DAF-CD34-4819-9611-33C813C52E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916534-F99E-4887-8512-0BDE9ACBD4D3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D09A4-D7CF-4D1D-8376-A6317B2D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87183-9305-4CC7-88E3-CD4694340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AABB29-22AC-4C62-A174-9E5A0A1EFA21}"/>
              </a:ext>
            </a:extLst>
          </p:cNvPr>
          <p:cNvSpPr/>
          <p:nvPr userDrawn="1"/>
        </p:nvSpPr>
        <p:spPr>
          <a:xfrm>
            <a:off x="431799" y="1222000"/>
            <a:ext cx="2772495" cy="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51FF7EA-B38E-4E99-8157-37561C4A93EC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1A303416-2A86-481B-851E-6DE8F3C616E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354886A1-1116-4672-8DA8-74AA553C0B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A4936AD2-7528-4A6A-8583-7E7103459FA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7" name="Picture 6" descr="Shape, polygon&#10;&#10;Description automatically generated">
            <a:extLst>
              <a:ext uri="{FF2B5EF4-FFF2-40B4-BE49-F238E27FC236}">
                <a16:creationId xmlns:a16="http://schemas.microsoft.com/office/drawing/2014/main" id="{D2708C92-5AB6-CE4B-9E57-0DEC032FB86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034" y="-1799"/>
            <a:ext cx="5758967" cy="4169107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0021B20-6F0E-4481-874A-F21AE9FD3CC4}"/>
              </a:ext>
            </a:extLst>
          </p:cNvPr>
          <p:cNvSpPr/>
          <p:nvPr userDrawn="1"/>
        </p:nvSpPr>
        <p:spPr>
          <a:xfrm>
            <a:off x="4078815" y="1222000"/>
            <a:ext cx="7681384" cy="10160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DA88272-0989-4751-9FC4-6BE74AD9E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94401" y="1502401"/>
            <a:ext cx="7665600" cy="1924800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4267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07D7FEE8-F2B7-0446-9866-1B5362D0C11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2679" y="355085"/>
            <a:ext cx="2397509" cy="7331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3449085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- Turquoise">
    <p:bg>
      <p:bgPr>
        <a:solidFill>
          <a:srgbClr val="00BF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E3273D-D190-43EA-AB9F-F4E0C3DE2A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601" y="1243200"/>
            <a:ext cx="2404800" cy="2188800"/>
          </a:xfrm>
        </p:spPr>
        <p:txBody>
          <a:bodyPr anchor="ctr" anchorCtr="0">
            <a:noAutofit/>
          </a:bodyPr>
          <a:lstStyle>
            <a:lvl1pPr algn="r">
              <a:defRPr sz="14666">
                <a:solidFill>
                  <a:schemeClr val="bg1"/>
                </a:solidFill>
                <a:latin typeface="RR Pioneer UltraLight Condensed" panose="020B0206030201060103" pitchFamily="34" charset="0"/>
              </a:defRPr>
            </a:lvl1pPr>
          </a:lstStyle>
          <a:p>
            <a:r>
              <a:rPr lang="en-US"/>
              <a:t>XX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AD4DAF-CD34-4819-9611-33C813C52E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B09F439-751B-465B-90E6-1515660F2D54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D09A4-D7CF-4D1D-8376-A6317B2D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87183-9305-4CC7-88E3-CD4694340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AABB29-22AC-4C62-A174-9E5A0A1EFA21}"/>
              </a:ext>
            </a:extLst>
          </p:cNvPr>
          <p:cNvSpPr/>
          <p:nvPr userDrawn="1"/>
        </p:nvSpPr>
        <p:spPr>
          <a:xfrm>
            <a:off x="431799" y="1222000"/>
            <a:ext cx="2772495" cy="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2FE9341-C9B7-4A46-AC95-92BEC6BD5368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7F5ECE0-F41A-43E1-852D-AE08E0AC789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4DF97AB9-B7D8-433E-918E-AFDE0B9831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169D693B-70A2-4471-994A-6857EF5B21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1" name="Picture 10" descr="Shape, polygon&#10;&#10;Description automatically generated">
            <a:extLst>
              <a:ext uri="{FF2B5EF4-FFF2-40B4-BE49-F238E27FC236}">
                <a16:creationId xmlns:a16="http://schemas.microsoft.com/office/drawing/2014/main" id="{ACA9CC79-C4CA-BF46-A299-D087C15CA5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-14610"/>
            <a:ext cx="5760000" cy="4169855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0021B20-6F0E-4481-874A-F21AE9FD3CC4}"/>
              </a:ext>
            </a:extLst>
          </p:cNvPr>
          <p:cNvSpPr/>
          <p:nvPr userDrawn="1"/>
        </p:nvSpPr>
        <p:spPr>
          <a:xfrm>
            <a:off x="4078815" y="1222000"/>
            <a:ext cx="7681384" cy="10160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DA88272-0989-4751-9FC4-6BE74AD9E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94401" y="1502401"/>
            <a:ext cx="7665600" cy="1924800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4267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  <p:pic>
        <p:nvPicPr>
          <p:cNvPr id="23" name="Picture 22" descr="Text&#10;&#10;Description automatically generated">
            <a:extLst>
              <a:ext uri="{FF2B5EF4-FFF2-40B4-BE49-F238E27FC236}">
                <a16:creationId xmlns:a16="http://schemas.microsoft.com/office/drawing/2014/main" id="{25E51B22-CE5F-104A-BE62-7446960FC66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2679" y="355085"/>
            <a:ext cx="2397509" cy="7331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0619384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- Light Green">
    <p:bg>
      <p:bgPr>
        <a:solidFill>
          <a:srgbClr val="819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E3273D-D190-43EA-AB9F-F4E0C3DE2A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601" y="1243200"/>
            <a:ext cx="2404800" cy="2188800"/>
          </a:xfrm>
        </p:spPr>
        <p:txBody>
          <a:bodyPr anchor="ctr" anchorCtr="0">
            <a:noAutofit/>
          </a:bodyPr>
          <a:lstStyle>
            <a:lvl1pPr algn="r">
              <a:defRPr sz="14666">
                <a:solidFill>
                  <a:schemeClr val="bg1"/>
                </a:solidFill>
                <a:latin typeface="RR Pioneer UltraLight Condensed" panose="020B0206030201060103" pitchFamily="34" charset="0"/>
              </a:defRPr>
            </a:lvl1pPr>
          </a:lstStyle>
          <a:p>
            <a:r>
              <a:rPr lang="en-US"/>
              <a:t>XX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AD4DAF-CD34-4819-9611-33C813C52E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EA8F14F-DD36-42B0-AD8E-79A47D1C16F9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D09A4-D7CF-4D1D-8376-A6317B2D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87183-9305-4CC7-88E3-CD4694340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AABB29-22AC-4C62-A174-9E5A0A1EFA21}"/>
              </a:ext>
            </a:extLst>
          </p:cNvPr>
          <p:cNvSpPr/>
          <p:nvPr userDrawn="1"/>
        </p:nvSpPr>
        <p:spPr>
          <a:xfrm>
            <a:off x="431799" y="1222000"/>
            <a:ext cx="2772495" cy="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F031BEC-F9AC-4198-83C6-90C7698C3C98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36FEB0-4F1D-4FA8-859A-16BF6AC9103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335792A-AD1F-4731-8213-4E38785F42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485584DD-EEAA-4E4F-9727-06D0635D2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0" name="Picture 19" descr="Shape, polygon&#10;&#10;Description automatically generated">
            <a:extLst>
              <a:ext uri="{FF2B5EF4-FFF2-40B4-BE49-F238E27FC236}">
                <a16:creationId xmlns:a16="http://schemas.microsoft.com/office/drawing/2014/main" id="{81F213CC-9E0B-B94F-ADA1-87A585A9BD9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-14610"/>
            <a:ext cx="5760000" cy="4169855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0021B20-6F0E-4481-874A-F21AE9FD3CC4}"/>
              </a:ext>
            </a:extLst>
          </p:cNvPr>
          <p:cNvSpPr/>
          <p:nvPr userDrawn="1"/>
        </p:nvSpPr>
        <p:spPr>
          <a:xfrm>
            <a:off x="4078815" y="1222000"/>
            <a:ext cx="7681384" cy="10160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DA88272-0989-4751-9FC4-6BE74AD9E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94401" y="1502401"/>
            <a:ext cx="7665600" cy="1924800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4267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  <p:pic>
        <p:nvPicPr>
          <p:cNvPr id="21" name="Picture 20" descr="Text&#10;&#10;Description automatically generated">
            <a:extLst>
              <a:ext uri="{FF2B5EF4-FFF2-40B4-BE49-F238E27FC236}">
                <a16:creationId xmlns:a16="http://schemas.microsoft.com/office/drawing/2014/main" id="{8E486805-F00A-2147-BAF4-5C12E2EFA5C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2679" y="355085"/>
            <a:ext cx="2397509" cy="7331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5751250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- Orange">
    <p:bg>
      <p:bgPr>
        <a:solidFill>
          <a:srgbClr val="DB3F1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E3273D-D190-43EA-AB9F-F4E0C3DE2A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601" y="1243200"/>
            <a:ext cx="2404800" cy="2188800"/>
          </a:xfrm>
        </p:spPr>
        <p:txBody>
          <a:bodyPr anchor="ctr" anchorCtr="0">
            <a:noAutofit/>
          </a:bodyPr>
          <a:lstStyle>
            <a:lvl1pPr algn="r">
              <a:defRPr sz="14666">
                <a:solidFill>
                  <a:schemeClr val="bg1"/>
                </a:solidFill>
                <a:latin typeface="RR Pioneer UltraLight Condensed" panose="020B0206030201060103" pitchFamily="34" charset="0"/>
              </a:defRPr>
            </a:lvl1pPr>
          </a:lstStyle>
          <a:p>
            <a:r>
              <a:rPr lang="en-US"/>
              <a:t>XX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AD4DAF-CD34-4819-9611-33C813C52E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D46A518-FC32-46AA-879E-2C0312EBBD8A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D09A4-D7CF-4D1D-8376-A6317B2D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87183-9305-4CC7-88E3-CD4694340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AABB29-22AC-4C62-A174-9E5A0A1EFA21}"/>
              </a:ext>
            </a:extLst>
          </p:cNvPr>
          <p:cNvSpPr/>
          <p:nvPr userDrawn="1"/>
        </p:nvSpPr>
        <p:spPr>
          <a:xfrm>
            <a:off x="431799" y="1222000"/>
            <a:ext cx="2772495" cy="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493029B-2588-4CEA-ABCC-2BE98A5BBDD5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E67F5E4-2804-4966-857C-946A21B8344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DD49D93E-F490-4B5A-B482-40E4EF9A1D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45318C03-6571-4131-959E-E4B5D568B2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0" name="Picture 19" descr="Shape, polygon&#10;&#10;Description automatically generated">
            <a:extLst>
              <a:ext uri="{FF2B5EF4-FFF2-40B4-BE49-F238E27FC236}">
                <a16:creationId xmlns:a16="http://schemas.microsoft.com/office/drawing/2014/main" id="{54D6F37A-5476-D243-824C-6F92D3B2C8C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-14610"/>
            <a:ext cx="5760000" cy="4169855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0021B20-6F0E-4481-874A-F21AE9FD3CC4}"/>
              </a:ext>
            </a:extLst>
          </p:cNvPr>
          <p:cNvSpPr/>
          <p:nvPr userDrawn="1"/>
        </p:nvSpPr>
        <p:spPr>
          <a:xfrm>
            <a:off x="4078815" y="1222000"/>
            <a:ext cx="7681384" cy="10160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DA88272-0989-4751-9FC4-6BE74AD9E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94401" y="1502401"/>
            <a:ext cx="7665600" cy="1924800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4267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  <p:pic>
        <p:nvPicPr>
          <p:cNvPr id="21" name="Picture 20" descr="Text&#10;&#10;Description automatically generated">
            <a:extLst>
              <a:ext uri="{FF2B5EF4-FFF2-40B4-BE49-F238E27FC236}">
                <a16:creationId xmlns:a16="http://schemas.microsoft.com/office/drawing/2014/main" id="{C803E45E-EAB3-8347-B9DC-BF8164A60D3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2679" y="355085"/>
            <a:ext cx="2397509" cy="7331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338854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- Magenta">
    <p:bg>
      <p:bgPr>
        <a:solidFill>
          <a:srgbClr val="E21D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E3273D-D190-43EA-AB9F-F4E0C3DE2A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601" y="1243200"/>
            <a:ext cx="2404800" cy="2188800"/>
          </a:xfrm>
        </p:spPr>
        <p:txBody>
          <a:bodyPr anchor="ctr" anchorCtr="0">
            <a:noAutofit/>
          </a:bodyPr>
          <a:lstStyle>
            <a:lvl1pPr algn="r">
              <a:defRPr sz="14666">
                <a:solidFill>
                  <a:schemeClr val="bg1"/>
                </a:solidFill>
                <a:latin typeface="RR Pioneer UltraLight Condensed" panose="020B0206030201060103" pitchFamily="34" charset="0"/>
              </a:defRPr>
            </a:lvl1pPr>
          </a:lstStyle>
          <a:p>
            <a:r>
              <a:rPr lang="en-US"/>
              <a:t>XX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AD4DAF-CD34-4819-9611-33C813C52E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D8993F9-4EF9-4A92-847C-F736B25C4C07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D09A4-D7CF-4D1D-8376-A6317B2D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87183-9305-4CC7-88E3-CD4694340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AABB29-22AC-4C62-A174-9E5A0A1EFA21}"/>
              </a:ext>
            </a:extLst>
          </p:cNvPr>
          <p:cNvSpPr/>
          <p:nvPr userDrawn="1"/>
        </p:nvSpPr>
        <p:spPr>
          <a:xfrm>
            <a:off x="431799" y="1222000"/>
            <a:ext cx="2772495" cy="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8B343DE-22CB-4D21-8630-B226C0AFAC6D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A16F4D5-A7E8-478C-A587-9E92D23F8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B1B6ACAA-B146-42CF-8794-88C4A5CC1D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39B5C130-9FD9-4E0A-8940-BA007F8251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0" name="Picture 19" descr="Shape, polygon&#10;&#10;Description automatically generated">
            <a:extLst>
              <a:ext uri="{FF2B5EF4-FFF2-40B4-BE49-F238E27FC236}">
                <a16:creationId xmlns:a16="http://schemas.microsoft.com/office/drawing/2014/main" id="{4CCFF6A5-AA10-0E4A-AFC7-576AEA8649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-14610"/>
            <a:ext cx="5760000" cy="4169855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0021B20-6F0E-4481-874A-F21AE9FD3CC4}"/>
              </a:ext>
            </a:extLst>
          </p:cNvPr>
          <p:cNvSpPr/>
          <p:nvPr userDrawn="1"/>
        </p:nvSpPr>
        <p:spPr>
          <a:xfrm>
            <a:off x="4078815" y="1222000"/>
            <a:ext cx="7681384" cy="10160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DA88272-0989-4751-9FC4-6BE74AD9E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94401" y="1502401"/>
            <a:ext cx="7665600" cy="1924800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4267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  <p:pic>
        <p:nvPicPr>
          <p:cNvPr id="21" name="Picture 20" descr="Text&#10;&#10;Description automatically generated">
            <a:extLst>
              <a:ext uri="{FF2B5EF4-FFF2-40B4-BE49-F238E27FC236}">
                <a16:creationId xmlns:a16="http://schemas.microsoft.com/office/drawing/2014/main" id="{3DB2FD55-7083-034D-A06F-FA6ADFD734C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2679" y="355085"/>
            <a:ext cx="2397509" cy="7331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5118619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- Lilac">
    <p:bg>
      <p:bgPr>
        <a:solidFill>
          <a:srgbClr val="8C2AC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E3273D-D190-43EA-AB9F-F4E0C3DE2A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601" y="1243200"/>
            <a:ext cx="2404800" cy="2188800"/>
          </a:xfrm>
        </p:spPr>
        <p:txBody>
          <a:bodyPr anchor="ctr" anchorCtr="0">
            <a:noAutofit/>
          </a:bodyPr>
          <a:lstStyle>
            <a:lvl1pPr algn="r">
              <a:defRPr sz="14666">
                <a:solidFill>
                  <a:schemeClr val="bg1"/>
                </a:solidFill>
                <a:latin typeface="RR Pioneer UltraLight Condensed" panose="020B0206030201060103" pitchFamily="34" charset="0"/>
              </a:defRPr>
            </a:lvl1pPr>
          </a:lstStyle>
          <a:p>
            <a:r>
              <a:rPr lang="en-US"/>
              <a:t>XX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AD4DAF-CD34-4819-9611-33C813C52E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FBB3EB-662F-41B6-B1C0-BB1690FA27EA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D09A4-D7CF-4D1D-8376-A6317B2D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87183-9305-4CC7-88E3-CD4694340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AABB29-22AC-4C62-A174-9E5A0A1EFA21}"/>
              </a:ext>
            </a:extLst>
          </p:cNvPr>
          <p:cNvSpPr/>
          <p:nvPr userDrawn="1"/>
        </p:nvSpPr>
        <p:spPr>
          <a:xfrm>
            <a:off x="431799" y="1222000"/>
            <a:ext cx="2772495" cy="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4E84234-D09A-44F0-A642-50311E6563A9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3D366030-8EA6-400B-8126-F2255592103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23D295E-C275-4F3C-8581-CA3F7E8E9A3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E0C8CC85-87F9-4DDA-9B92-A526A5B601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0" name="Picture 19" descr="Shape, polygon&#10;&#10;Description automatically generated">
            <a:extLst>
              <a:ext uri="{FF2B5EF4-FFF2-40B4-BE49-F238E27FC236}">
                <a16:creationId xmlns:a16="http://schemas.microsoft.com/office/drawing/2014/main" id="{53A5F0E8-E479-AF41-A2C9-B268D3EF434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-14610"/>
            <a:ext cx="5760000" cy="4169855"/>
          </a:xfrm>
          <a:prstGeom prst="rect">
            <a:avLst/>
          </a:prstGeom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0021B20-6F0E-4481-874A-F21AE9FD3CC4}"/>
              </a:ext>
            </a:extLst>
          </p:cNvPr>
          <p:cNvSpPr/>
          <p:nvPr userDrawn="1"/>
        </p:nvSpPr>
        <p:spPr>
          <a:xfrm>
            <a:off x="4078815" y="1222000"/>
            <a:ext cx="7681384" cy="10160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latin typeface="RR Pioneer" panose="020B0503050201040103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DA88272-0989-4751-9FC4-6BE74AD9E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94401" y="1502401"/>
            <a:ext cx="7665600" cy="1924800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4267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  <p:pic>
        <p:nvPicPr>
          <p:cNvPr id="21" name="Picture 20" descr="Text&#10;&#10;Description automatically generated">
            <a:extLst>
              <a:ext uri="{FF2B5EF4-FFF2-40B4-BE49-F238E27FC236}">
                <a16:creationId xmlns:a16="http://schemas.microsoft.com/office/drawing/2014/main" id="{A6A88384-04E7-5541-93A9-8B0B5E6C807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2679" y="355085"/>
            <a:ext cx="2397509" cy="73312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4969037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 -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58A6D69-BAB1-4B9F-9F1C-0C24500536B0}"/>
              </a:ext>
            </a:extLst>
          </p:cNvPr>
          <p:cNvSpPr/>
          <p:nvPr userDrawn="1"/>
        </p:nvSpPr>
        <p:spPr>
          <a:xfrm>
            <a:off x="2" y="0"/>
            <a:ext cx="3024719" cy="68580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1B2A9B-607E-4D7A-922B-305ABA039546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75CAF40-DCF1-404F-A98A-2CD51C225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201" y="11904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rgbClr val="E21D60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B4DE9B5E-37A7-40D8-8ACF-3DCE9F9964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4801" y="1315200"/>
            <a:ext cx="69552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Presenter name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7088707D-4FCB-41DE-A56D-ADEB3FE76F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19201" y="24432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chemeClr val="bg2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D40E0593-EB9B-4A05-80F6-A08DEB72D2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4801" y="2568000"/>
            <a:ext cx="6955200" cy="864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A7C7ECF3-9B0C-4FDE-89C6-E6FD13011A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19201" y="36960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chemeClr val="accent3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EF7B9319-A865-41BA-A7C5-F298FBFA04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801" y="3816000"/>
            <a:ext cx="69552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6477CD61-8155-4897-9AA4-43468BB495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19201" y="49488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chemeClr val="accent6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A99FD2FE-C1D1-4613-80A2-068D29011B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801" y="5068800"/>
            <a:ext cx="69552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CAFC836-4963-47F9-BC3B-0B6C1DAD7896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7ABDE79D-B0E6-4DC4-A845-545392106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62E61D16-AB74-4296-9622-4354B32EAA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A4C0366C-9625-4286-9F70-64F6B3DBB9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8" name="Picture 7" descr="Shape, polygon&#10;&#10;Description automatically generated">
            <a:extLst>
              <a:ext uri="{FF2B5EF4-FFF2-40B4-BE49-F238E27FC236}">
                <a16:creationId xmlns:a16="http://schemas.microsoft.com/office/drawing/2014/main" id="{8C0960FE-DB70-814D-9158-997583F5999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7874"/>
            <a:ext cx="5760000" cy="416985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9493090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-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69F3A036-54EC-C348-A20B-0920994F091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1296" y="290170"/>
            <a:ext cx="2414705" cy="73838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58A6D69-BAB1-4B9F-9F1C-0C24500536B0}"/>
              </a:ext>
            </a:extLst>
          </p:cNvPr>
          <p:cNvSpPr/>
          <p:nvPr userDrawn="1"/>
        </p:nvSpPr>
        <p:spPr>
          <a:xfrm>
            <a:off x="2" y="0"/>
            <a:ext cx="3024719" cy="68580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1B2A9B-607E-4D7A-922B-305ABA039546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75CAF40-DCF1-404F-A98A-2CD51C225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201" y="11904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rgbClr val="E21D60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B4DE9B5E-37A7-40D8-8ACF-3DCE9F9964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4801" y="1315200"/>
            <a:ext cx="69552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Presenter name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7088707D-4FCB-41DE-A56D-ADEB3FE76F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19201" y="24432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chemeClr val="bg2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D40E0593-EB9B-4A05-80F6-A08DEB72D2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4801" y="2568000"/>
            <a:ext cx="6955200" cy="864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A7C7ECF3-9B0C-4FDE-89C6-E6FD13011A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19201" y="36960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chemeClr val="accent3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EF7B9319-A865-41BA-A7C5-F298FBFA04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801" y="3816000"/>
            <a:ext cx="69552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6477CD61-8155-4897-9AA4-43468BB495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19201" y="49488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chemeClr val="accent6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A99FD2FE-C1D1-4613-80A2-068D29011B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801" y="5068800"/>
            <a:ext cx="69552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CAFC836-4963-47F9-BC3B-0B6C1DAD7896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7ABDE79D-B0E6-4DC4-A845-545392106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62E61D16-AB74-4296-9622-4354B32EAA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A4C0366C-9625-4286-9F70-64F6B3DBB9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0" name="Picture 9" descr="A picture containing polygon&#10;&#10;Description automatically generated">
            <a:extLst>
              <a:ext uri="{FF2B5EF4-FFF2-40B4-BE49-F238E27FC236}">
                <a16:creationId xmlns:a16="http://schemas.microsoft.com/office/drawing/2014/main" id="{F56179B4-EFC6-CF4D-9A3D-D3BCA81A4A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0141" y="0"/>
            <a:ext cx="5761859" cy="41712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061971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- Light Green">
    <p:bg>
      <p:bgPr>
        <a:solidFill>
          <a:srgbClr val="819C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E3273D-D190-43EA-AB9F-F4E0C3DE2A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600" y="1243200"/>
            <a:ext cx="2404800" cy="2188800"/>
          </a:xfrm>
        </p:spPr>
        <p:txBody>
          <a:bodyPr anchor="ctr" anchorCtr="0">
            <a:noAutofit/>
          </a:bodyPr>
          <a:lstStyle>
            <a:lvl1pPr algn="r">
              <a:defRPr sz="14666">
                <a:solidFill>
                  <a:schemeClr val="bg1"/>
                </a:solidFill>
                <a:latin typeface="RR Pioneer UltraLight Condensed" panose="020B0206030201060103" pitchFamily="34" charset="0"/>
              </a:defRPr>
            </a:lvl1pPr>
          </a:lstStyle>
          <a:p>
            <a:r>
              <a:rPr lang="en-US"/>
              <a:t>XX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AD4DAF-CD34-4819-9611-33C813C52E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E5E21A-8D2B-42EE-9DD0-4EB172F5DE77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D09A4-D7CF-4D1D-8376-A6317B2D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87183-9305-4CC7-88E3-CD4694340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AABB29-22AC-4C62-A174-9E5A0A1EFA21}"/>
              </a:ext>
            </a:extLst>
          </p:cNvPr>
          <p:cNvSpPr/>
          <p:nvPr userDrawn="1"/>
        </p:nvSpPr>
        <p:spPr>
          <a:xfrm>
            <a:off x="431800" y="1222000"/>
            <a:ext cx="2772493" cy="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>
              <a:latin typeface="RR Pioneer" panose="020B0503050201040103" pitchFamily="34" charset="0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0021B20-6F0E-4481-874A-F21AE9FD3CC4}"/>
              </a:ext>
            </a:extLst>
          </p:cNvPr>
          <p:cNvSpPr/>
          <p:nvPr userDrawn="1"/>
        </p:nvSpPr>
        <p:spPr>
          <a:xfrm>
            <a:off x="4078816" y="1222000"/>
            <a:ext cx="7681384" cy="10160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>
              <a:latin typeface="RR Pioneer" panose="020B0503050201040103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DA88272-0989-4751-9FC4-6BE74AD9E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94400" y="1502401"/>
            <a:ext cx="7665600" cy="1924800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4267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8F031BEC-F9AC-4198-83C6-90C7698C3C98}"/>
              </a:ext>
            </a:extLst>
          </p:cNvPr>
          <p:cNvGrpSpPr/>
          <p:nvPr userDrawn="1"/>
        </p:nvGrpSpPr>
        <p:grpSpPr>
          <a:xfrm>
            <a:off x="431801" y="311150"/>
            <a:ext cx="428348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336FEB0-4F1D-4FA8-859A-16BF6AC9103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C335792A-AD1F-4731-8213-4E38785F420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485584DD-EEAA-4E4F-9727-06D0635D2AA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8210087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Agenda -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CB93532F-3327-8244-91E3-037EFA2F14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1296" y="290171"/>
            <a:ext cx="2414705" cy="73838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58A6D69-BAB1-4B9F-9F1C-0C24500536B0}"/>
              </a:ext>
            </a:extLst>
          </p:cNvPr>
          <p:cNvSpPr/>
          <p:nvPr userDrawn="1"/>
        </p:nvSpPr>
        <p:spPr>
          <a:xfrm>
            <a:off x="2" y="0"/>
            <a:ext cx="3024719" cy="68580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1B2A9B-607E-4D7A-922B-305ABA039546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75CAF40-DCF1-404F-A98A-2CD51C225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201" y="11904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rgbClr val="E21D60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B4DE9B5E-37A7-40D8-8ACF-3DCE9F9964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4801" y="1315200"/>
            <a:ext cx="69552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Presenter name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7088707D-4FCB-41DE-A56D-ADEB3FE76F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19201" y="24432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chemeClr val="bg2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D40E0593-EB9B-4A05-80F6-A08DEB72D2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4801" y="2568000"/>
            <a:ext cx="6955200" cy="864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A7C7ECF3-9B0C-4FDE-89C6-E6FD13011A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19201" y="36960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chemeClr val="accent3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EF7B9319-A865-41BA-A7C5-F298FBFA04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801" y="3816000"/>
            <a:ext cx="69552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6477CD61-8155-4897-9AA4-43468BB495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19201" y="49488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chemeClr val="accent6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A99FD2FE-C1D1-4613-80A2-068D29011B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801" y="5068800"/>
            <a:ext cx="69552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CAFC836-4963-47F9-BC3B-0B6C1DAD7896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7ABDE79D-B0E6-4DC4-A845-545392106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62E61D16-AB74-4296-9622-4354B32EAA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A4C0366C-9625-4286-9F70-64F6B3DBB9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9" name="Picture 8" descr="Shape, polygon&#10;&#10;Description automatically generated">
            <a:extLst>
              <a:ext uri="{FF2B5EF4-FFF2-40B4-BE49-F238E27FC236}">
                <a16:creationId xmlns:a16="http://schemas.microsoft.com/office/drawing/2014/main" id="{A1E5414D-010B-C04D-A11A-C1F6E8A1105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2446697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Agenda -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Text&#10;&#10;Description automatically generated">
            <a:extLst>
              <a:ext uri="{FF2B5EF4-FFF2-40B4-BE49-F238E27FC236}">
                <a16:creationId xmlns:a16="http://schemas.microsoft.com/office/drawing/2014/main" id="{350D967D-46C5-E84B-B04C-58250E7A19E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1296" y="290171"/>
            <a:ext cx="2414705" cy="73838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58A6D69-BAB1-4B9F-9F1C-0C24500536B0}"/>
              </a:ext>
            </a:extLst>
          </p:cNvPr>
          <p:cNvSpPr/>
          <p:nvPr userDrawn="1"/>
        </p:nvSpPr>
        <p:spPr>
          <a:xfrm>
            <a:off x="2" y="0"/>
            <a:ext cx="3024719" cy="68580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1B2A9B-607E-4D7A-922B-305ABA039546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75CAF40-DCF1-404F-A98A-2CD51C225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201" y="11904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rgbClr val="E21D60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B4DE9B5E-37A7-40D8-8ACF-3DCE9F9964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4801" y="1315200"/>
            <a:ext cx="69552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Presenter name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7088707D-4FCB-41DE-A56D-ADEB3FE76F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19201" y="24432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chemeClr val="bg2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D40E0593-EB9B-4A05-80F6-A08DEB72D2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4801" y="2568000"/>
            <a:ext cx="6955200" cy="864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A7C7ECF3-9B0C-4FDE-89C6-E6FD13011A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19201" y="36960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chemeClr val="accent3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EF7B9319-A865-41BA-A7C5-F298FBFA04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801" y="3816000"/>
            <a:ext cx="69552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6477CD61-8155-4897-9AA4-43468BB495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19201" y="49488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chemeClr val="accent6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A99FD2FE-C1D1-4613-80A2-068D29011B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801" y="5068800"/>
            <a:ext cx="69552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CAFC836-4963-47F9-BC3B-0B6C1DAD7896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7ABDE79D-B0E6-4DC4-A845-545392106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62E61D16-AB74-4296-9622-4354B32EAA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A4C0366C-9625-4286-9F70-64F6B3DBB9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0" name="Picture 9" descr="Shape, radar chart, polygon&#10;&#10;Description automatically generated">
            <a:extLst>
              <a:ext uri="{FF2B5EF4-FFF2-40B4-BE49-F238E27FC236}">
                <a16:creationId xmlns:a16="http://schemas.microsoft.com/office/drawing/2014/main" id="{56643F64-971A-3F48-80D3-4F8394045AD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200763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Agenda -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Text&#10;&#10;Description automatically generated">
            <a:extLst>
              <a:ext uri="{FF2B5EF4-FFF2-40B4-BE49-F238E27FC236}">
                <a16:creationId xmlns:a16="http://schemas.microsoft.com/office/drawing/2014/main" id="{E792442E-C9E4-C94A-BD23-3656AA2563F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1296" y="290171"/>
            <a:ext cx="2414705" cy="738381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58A6D69-BAB1-4B9F-9F1C-0C24500536B0}"/>
              </a:ext>
            </a:extLst>
          </p:cNvPr>
          <p:cNvSpPr/>
          <p:nvPr userDrawn="1"/>
        </p:nvSpPr>
        <p:spPr>
          <a:xfrm>
            <a:off x="2" y="0"/>
            <a:ext cx="3024719" cy="68580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1B2A9B-607E-4D7A-922B-305ABA039546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75CAF40-DCF1-404F-A98A-2CD51C225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201" y="11904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rgbClr val="E21D60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B4DE9B5E-37A7-40D8-8ACF-3DCE9F9964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4801" y="1315200"/>
            <a:ext cx="69552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Presenter name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7088707D-4FCB-41DE-A56D-ADEB3FE76F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19201" y="24432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chemeClr val="bg2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D40E0593-EB9B-4A05-80F6-A08DEB72D2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4801" y="2568000"/>
            <a:ext cx="6955200" cy="864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A7C7ECF3-9B0C-4FDE-89C6-E6FD13011A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19201" y="36960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chemeClr val="accent3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EF7B9319-A865-41BA-A7C5-F298FBFA04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801" y="3816000"/>
            <a:ext cx="69552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6477CD61-8155-4897-9AA4-43468BB495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19201" y="49488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chemeClr val="accent6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A99FD2FE-C1D1-4613-80A2-068D29011B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801" y="5068800"/>
            <a:ext cx="69552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CAFC836-4963-47F9-BC3B-0B6C1DAD7896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7ABDE79D-B0E6-4DC4-A845-545392106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62E61D16-AB74-4296-9622-4354B32EAA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A4C0366C-9625-4286-9F70-64F6B3DBB9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9" name="Picture 8" descr="Polygon&#10;&#10;Description automatically generated with medium confidence">
            <a:extLst>
              <a:ext uri="{FF2B5EF4-FFF2-40B4-BE49-F238E27FC236}">
                <a16:creationId xmlns:a16="http://schemas.microsoft.com/office/drawing/2014/main" id="{7E99A103-0856-094B-A053-F2368977924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8715681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Agenda - 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Text&#10;&#10;Description automatically generated with medium confidence">
            <a:extLst>
              <a:ext uri="{FF2B5EF4-FFF2-40B4-BE49-F238E27FC236}">
                <a16:creationId xmlns:a16="http://schemas.microsoft.com/office/drawing/2014/main" id="{CAD25079-B423-5743-8F60-963B1D57F0E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1295" y="290148"/>
            <a:ext cx="2429080" cy="742776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58A6D69-BAB1-4B9F-9F1C-0C24500536B0}"/>
              </a:ext>
            </a:extLst>
          </p:cNvPr>
          <p:cNvSpPr/>
          <p:nvPr userDrawn="1"/>
        </p:nvSpPr>
        <p:spPr>
          <a:xfrm>
            <a:off x="2" y="0"/>
            <a:ext cx="3024719" cy="68580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1B2A9B-607E-4D7A-922B-305ABA039546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75CAF40-DCF1-404F-A98A-2CD51C225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19201" y="11904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rgbClr val="E21D60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B4DE9B5E-37A7-40D8-8ACF-3DCE9F9964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804801" y="1315200"/>
            <a:ext cx="69552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Presenter name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7088707D-4FCB-41DE-A56D-ADEB3FE76F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19201" y="24432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chemeClr val="bg2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D40E0593-EB9B-4A05-80F6-A08DEB72D2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804801" y="2568000"/>
            <a:ext cx="6955200" cy="864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A7C7ECF3-9B0C-4FDE-89C6-E6FD13011A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19201" y="36960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chemeClr val="accent3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EF7B9319-A865-41BA-A7C5-F298FBFA04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04801" y="3816000"/>
            <a:ext cx="69552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6477CD61-8155-4897-9AA4-43468BB495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19201" y="4948800"/>
            <a:ext cx="1022400" cy="902400"/>
          </a:xfrm>
        </p:spPr>
        <p:txBody>
          <a:bodyPr anchor="ctr" anchorCtr="0">
            <a:noAutofit/>
          </a:bodyPr>
          <a:lstStyle>
            <a:lvl1pPr algn="r">
              <a:defRPr sz="5867" spc="533" baseline="0">
                <a:solidFill>
                  <a:schemeClr val="accent6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A99FD2FE-C1D1-4613-80A2-068D29011B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04801" y="5068800"/>
            <a:ext cx="69552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CAFC836-4963-47F9-BC3B-0B6C1DAD7896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23" name="Freeform 5">
              <a:extLst>
                <a:ext uri="{FF2B5EF4-FFF2-40B4-BE49-F238E27FC236}">
                  <a16:creationId xmlns:a16="http://schemas.microsoft.com/office/drawing/2014/main" id="{7ABDE79D-B0E6-4DC4-A845-5453921063DE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62E61D16-AB74-4296-9622-4354B32EAA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A4C0366C-9625-4286-9F70-64F6B3DBB94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0" name="Picture 9" descr="Shape, polygon&#10;&#10;Description automatically generated">
            <a:extLst>
              <a:ext uri="{FF2B5EF4-FFF2-40B4-BE49-F238E27FC236}">
                <a16:creationId xmlns:a16="http://schemas.microsoft.com/office/drawing/2014/main" id="{BAAF5679-8AB5-9246-85CA-5511E2FA42C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4856105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- E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 descr="Shape, polygon&#10;&#10;Description automatically generated">
            <a:extLst>
              <a:ext uri="{FF2B5EF4-FFF2-40B4-BE49-F238E27FC236}">
                <a16:creationId xmlns:a16="http://schemas.microsoft.com/office/drawing/2014/main" id="{19FF850A-753E-AD4F-8808-40ED282FBA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  <p:pic>
        <p:nvPicPr>
          <p:cNvPr id="36" name="Picture 35" descr="A picture containing text&#10;&#10;Description automatically generated">
            <a:extLst>
              <a:ext uri="{FF2B5EF4-FFF2-40B4-BE49-F238E27FC236}">
                <a16:creationId xmlns:a16="http://schemas.microsoft.com/office/drawing/2014/main" id="{6D0AEAC8-72C8-BD40-9F38-91681E1671C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7484" y="315217"/>
            <a:ext cx="2379771" cy="7276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58A6D69-BAB1-4B9F-9F1C-0C24500536B0}"/>
              </a:ext>
            </a:extLst>
          </p:cNvPr>
          <p:cNvSpPr/>
          <p:nvPr userDrawn="1"/>
        </p:nvSpPr>
        <p:spPr>
          <a:xfrm>
            <a:off x="2" y="0"/>
            <a:ext cx="3024719" cy="68580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66F0FB-BB0A-4FA7-92AC-1D0B788AA08E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75CAF40-DCF1-404F-A98A-2CD51C225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16800" y="1123200"/>
            <a:ext cx="988800" cy="902400"/>
          </a:xfrm>
        </p:spPr>
        <p:txBody>
          <a:bodyPr anchor="ctr" anchorCtr="0">
            <a:noAutofit/>
          </a:bodyPr>
          <a:lstStyle>
            <a:lvl1pPr algn="r">
              <a:defRPr sz="4267" spc="533" baseline="0">
                <a:solidFill>
                  <a:srgbClr val="00BFBD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B4DE9B5E-37A7-40D8-8ACF-3DCE9F9964B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40001" y="1315200"/>
            <a:ext cx="30096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Presenter name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7088707D-4FCB-41DE-A56D-ADEB3FE76F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316800" y="2376000"/>
            <a:ext cx="988800" cy="902400"/>
          </a:xfrm>
        </p:spPr>
        <p:txBody>
          <a:bodyPr anchor="ctr" anchorCtr="0">
            <a:noAutofit/>
          </a:bodyPr>
          <a:lstStyle>
            <a:lvl1pPr algn="r">
              <a:defRPr sz="4267" spc="533" baseline="0">
                <a:solidFill>
                  <a:schemeClr val="tx2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D40E0593-EB9B-4A05-80F6-A08DEB72D21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40001" y="2568000"/>
            <a:ext cx="3009600" cy="864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A7C7ECF3-9B0C-4FDE-89C6-E6FD13011A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16800" y="3638400"/>
            <a:ext cx="988800" cy="902400"/>
          </a:xfrm>
        </p:spPr>
        <p:txBody>
          <a:bodyPr anchor="ctr" anchorCtr="0">
            <a:noAutofit/>
          </a:bodyPr>
          <a:lstStyle>
            <a:lvl1pPr algn="r">
              <a:defRPr sz="4267" spc="533" baseline="0">
                <a:solidFill>
                  <a:schemeClr val="accent4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19" name="Text Placeholder 17">
            <a:extLst>
              <a:ext uri="{FF2B5EF4-FFF2-40B4-BE49-F238E27FC236}">
                <a16:creationId xmlns:a16="http://schemas.microsoft.com/office/drawing/2014/main" id="{EF7B9319-A865-41BA-A7C5-F298FBFA042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440001" y="3816000"/>
            <a:ext cx="30096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6477CD61-8155-4897-9AA4-43468BB495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316800" y="4891200"/>
            <a:ext cx="988800" cy="902400"/>
          </a:xfrm>
        </p:spPr>
        <p:txBody>
          <a:bodyPr anchor="ctr" anchorCtr="0">
            <a:noAutofit/>
          </a:bodyPr>
          <a:lstStyle>
            <a:lvl1pPr algn="r">
              <a:defRPr sz="4267" spc="533" baseline="0">
                <a:solidFill>
                  <a:schemeClr val="accent3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A99FD2FE-C1D1-4613-80A2-068D29011B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440001" y="5068800"/>
            <a:ext cx="30096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3687C8C2-4A6E-4505-A0CA-BD757C18783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627200" y="1123200"/>
            <a:ext cx="988800" cy="902400"/>
          </a:xfrm>
        </p:spPr>
        <p:txBody>
          <a:bodyPr anchor="ctr" anchorCtr="0">
            <a:noAutofit/>
          </a:bodyPr>
          <a:lstStyle>
            <a:lvl1pPr algn="r">
              <a:defRPr sz="4267" spc="533" baseline="0">
                <a:solidFill>
                  <a:schemeClr val="accent5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23" name="Text Placeholder 17">
            <a:extLst>
              <a:ext uri="{FF2B5EF4-FFF2-40B4-BE49-F238E27FC236}">
                <a16:creationId xmlns:a16="http://schemas.microsoft.com/office/drawing/2014/main" id="{B007AE3F-C973-4099-83AB-43B7623EE26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50401" y="1315200"/>
            <a:ext cx="30096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Presenter name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05BCD523-3C1D-4657-82AD-B6CCC31CE74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627200" y="2376000"/>
            <a:ext cx="988800" cy="902400"/>
          </a:xfrm>
        </p:spPr>
        <p:txBody>
          <a:bodyPr anchor="ctr" anchorCtr="0">
            <a:noAutofit/>
          </a:bodyPr>
          <a:lstStyle>
            <a:lvl1pPr algn="r">
              <a:defRPr sz="4267" spc="533" baseline="0">
                <a:solidFill>
                  <a:schemeClr val="accent6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572D1E19-E6B1-48CE-98A6-AF80ACBBBE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750401" y="2568000"/>
            <a:ext cx="3009600" cy="8640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26" name="Text Placeholder 13">
            <a:extLst>
              <a:ext uri="{FF2B5EF4-FFF2-40B4-BE49-F238E27FC236}">
                <a16:creationId xmlns:a16="http://schemas.microsoft.com/office/drawing/2014/main" id="{D07DE159-2594-469A-8B54-C29C5B00E6C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627200" y="3638400"/>
            <a:ext cx="988800" cy="902400"/>
          </a:xfrm>
        </p:spPr>
        <p:txBody>
          <a:bodyPr anchor="ctr" anchorCtr="0">
            <a:noAutofit/>
          </a:bodyPr>
          <a:lstStyle>
            <a:lvl1pPr algn="r">
              <a:defRPr sz="4267" spc="533" baseline="0">
                <a:solidFill>
                  <a:srgbClr val="E21D60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27" name="Text Placeholder 17">
            <a:extLst>
              <a:ext uri="{FF2B5EF4-FFF2-40B4-BE49-F238E27FC236}">
                <a16:creationId xmlns:a16="http://schemas.microsoft.com/office/drawing/2014/main" id="{6CC6ABBC-E647-46D6-BC80-A3A224653C2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50401" y="3816000"/>
            <a:ext cx="30096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15616DB8-38F8-4E2A-B14D-A688F836501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627200" y="4891200"/>
            <a:ext cx="988800" cy="902400"/>
          </a:xfrm>
        </p:spPr>
        <p:txBody>
          <a:bodyPr anchor="ctr" anchorCtr="0">
            <a:noAutofit/>
          </a:bodyPr>
          <a:lstStyle>
            <a:lvl1pPr algn="r">
              <a:defRPr sz="4267" spc="533" baseline="0">
                <a:solidFill>
                  <a:schemeClr val="bg2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FD1008C4-EB83-4B7B-9AF7-42BBDD1CE3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50401" y="5068800"/>
            <a:ext cx="3009600" cy="86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rgbClr val="666666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GB" noProof="0"/>
              <a:t>Subject title</a:t>
            </a:r>
          </a:p>
          <a:p>
            <a:pPr lvl="1"/>
            <a:r>
              <a:rPr lang="en-GB" noProof="0"/>
              <a:t>Presenter name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9952C0B6-FB7C-4FD1-B2A3-179DF9E4C6C7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31" name="Freeform 5">
              <a:extLst>
                <a:ext uri="{FF2B5EF4-FFF2-40B4-BE49-F238E27FC236}">
                  <a16:creationId xmlns:a16="http://schemas.microsoft.com/office/drawing/2014/main" id="{9418B0CB-56F6-4CF9-BE32-C906009562B5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2" name="Freeform 6">
              <a:extLst>
                <a:ext uri="{FF2B5EF4-FFF2-40B4-BE49-F238E27FC236}">
                  <a16:creationId xmlns:a16="http://schemas.microsoft.com/office/drawing/2014/main" id="{82EF03D4-0BFE-4342-AD89-A662AE3316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3" name="Freeform 7">
              <a:extLst>
                <a:ext uri="{FF2B5EF4-FFF2-40B4-BE49-F238E27FC236}">
                  <a16:creationId xmlns:a16="http://schemas.microsoft.com/office/drawing/2014/main" id="{ED309E01-CAB8-418A-9896-B00D268B2BB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4450008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- Time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49" descr="Shape, polygon&#10;&#10;Description automatically generated">
            <a:extLst>
              <a:ext uri="{FF2B5EF4-FFF2-40B4-BE49-F238E27FC236}">
                <a16:creationId xmlns:a16="http://schemas.microsoft.com/office/drawing/2014/main" id="{C2620B9D-BCB7-754A-BD73-459625BB686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  <p:pic>
        <p:nvPicPr>
          <p:cNvPr id="52" name="Picture 51" descr="A picture containing text&#10;&#10;Description automatically generated">
            <a:extLst>
              <a:ext uri="{FF2B5EF4-FFF2-40B4-BE49-F238E27FC236}">
                <a16:creationId xmlns:a16="http://schemas.microsoft.com/office/drawing/2014/main" id="{08E183BA-F995-BE4A-916A-96FA6569710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7484" y="315217"/>
            <a:ext cx="2379771" cy="7276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58A6D69-BAB1-4B9F-9F1C-0C24500536B0}"/>
              </a:ext>
            </a:extLst>
          </p:cNvPr>
          <p:cNvSpPr/>
          <p:nvPr userDrawn="1"/>
        </p:nvSpPr>
        <p:spPr>
          <a:xfrm>
            <a:off x="2" y="0"/>
            <a:ext cx="3024719" cy="68580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275C75-B31D-470C-8B51-80BC453A81FB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75CAF40-DCF1-404F-A98A-2CD51C225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648000" y="1228800"/>
            <a:ext cx="1219200" cy="657600"/>
          </a:xfrm>
        </p:spPr>
        <p:txBody>
          <a:bodyPr anchor="ctr" anchorCtr="0">
            <a:noAutofit/>
          </a:bodyPr>
          <a:lstStyle>
            <a:lvl1pPr algn="l">
              <a:defRPr sz="4267" spc="0" baseline="0">
                <a:solidFill>
                  <a:schemeClr val="tx2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7088707D-4FCB-41DE-A56D-ADEB3FE76F9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48000" y="1891200"/>
            <a:ext cx="1219200" cy="657600"/>
          </a:xfrm>
        </p:spPr>
        <p:txBody>
          <a:bodyPr anchor="ctr" anchorCtr="0">
            <a:noAutofit/>
          </a:bodyPr>
          <a:lstStyle>
            <a:lvl1pPr algn="l">
              <a:defRPr sz="4267" spc="0" baseline="0">
                <a:solidFill>
                  <a:schemeClr val="bg2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A7C7ECF3-9B0C-4FDE-89C6-E6FD13011A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648000" y="2548800"/>
            <a:ext cx="1219200" cy="657600"/>
          </a:xfrm>
        </p:spPr>
        <p:txBody>
          <a:bodyPr anchor="ctr" anchorCtr="0">
            <a:noAutofit/>
          </a:bodyPr>
          <a:lstStyle>
            <a:lvl1pPr algn="l">
              <a:defRPr sz="4267" spc="0" baseline="0">
                <a:solidFill>
                  <a:srgbClr val="00BFBD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6477CD61-8155-4897-9AA4-43468BB495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48000" y="3206400"/>
            <a:ext cx="1219200" cy="657600"/>
          </a:xfrm>
        </p:spPr>
        <p:txBody>
          <a:bodyPr anchor="ctr" anchorCtr="0">
            <a:noAutofit/>
          </a:bodyPr>
          <a:lstStyle>
            <a:lvl1pPr algn="l">
              <a:defRPr sz="4267" spc="0" baseline="0">
                <a:solidFill>
                  <a:schemeClr val="accent3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CC185541-CC8A-415B-920E-1D25F0BDFD5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3648000" y="3864000"/>
            <a:ext cx="1219200" cy="657600"/>
          </a:xfrm>
        </p:spPr>
        <p:txBody>
          <a:bodyPr anchor="ctr" anchorCtr="0">
            <a:noAutofit/>
          </a:bodyPr>
          <a:lstStyle>
            <a:lvl1pPr algn="l">
              <a:defRPr sz="4267" spc="0" baseline="0">
                <a:solidFill>
                  <a:srgbClr val="8C2ACE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27521806-5F3E-4380-9018-52D90E68A66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648000" y="4521600"/>
            <a:ext cx="1219200" cy="657600"/>
          </a:xfrm>
        </p:spPr>
        <p:txBody>
          <a:bodyPr anchor="ctr" anchorCtr="0">
            <a:noAutofit/>
          </a:bodyPr>
          <a:lstStyle>
            <a:lvl1pPr algn="l">
              <a:defRPr sz="4267" spc="0" baseline="0">
                <a:solidFill>
                  <a:schemeClr val="accent6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B58788C1-4EE6-4FF8-9EEB-648CFA84C84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48000" y="5179200"/>
            <a:ext cx="1219200" cy="657600"/>
          </a:xfrm>
        </p:spPr>
        <p:txBody>
          <a:bodyPr anchor="ctr" anchorCtr="0">
            <a:noAutofit/>
          </a:bodyPr>
          <a:lstStyle>
            <a:lvl1pPr algn="l">
              <a:defRPr sz="4267" spc="0" baseline="0">
                <a:solidFill>
                  <a:srgbClr val="E21D60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38" name="Text Placeholder 17">
            <a:extLst>
              <a:ext uri="{FF2B5EF4-FFF2-40B4-BE49-F238E27FC236}">
                <a16:creationId xmlns:a16="http://schemas.microsoft.com/office/drawing/2014/main" id="{B7DB6273-4136-4735-8763-3EBF05198DF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868801" y="1228800"/>
            <a:ext cx="4891200" cy="657600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666666"/>
                </a:solidFill>
                <a:latin typeface="+mj-lt"/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1"/>
            <a:r>
              <a:rPr lang="en-US"/>
              <a:t>Topic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E2FD8835-740D-496D-A8C7-CB6621301C2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868801" y="1887200"/>
            <a:ext cx="4891200" cy="657600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666666"/>
                </a:solidFill>
                <a:latin typeface="+mj-lt"/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1"/>
            <a:r>
              <a:rPr lang="en-US"/>
              <a:t>Topic</a:t>
            </a:r>
          </a:p>
        </p:txBody>
      </p:sp>
      <p:sp>
        <p:nvSpPr>
          <p:cNvPr id="40" name="Text Placeholder 17">
            <a:extLst>
              <a:ext uri="{FF2B5EF4-FFF2-40B4-BE49-F238E27FC236}">
                <a16:creationId xmlns:a16="http://schemas.microsoft.com/office/drawing/2014/main" id="{46D5B35D-AB37-4A9E-A09C-8BA5D426099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68801" y="2545600"/>
            <a:ext cx="4891200" cy="657600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666666"/>
                </a:solidFill>
                <a:latin typeface="+mj-lt"/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1"/>
            <a:r>
              <a:rPr lang="en-US"/>
              <a:t>Topic</a:t>
            </a:r>
          </a:p>
        </p:txBody>
      </p:sp>
      <p:sp>
        <p:nvSpPr>
          <p:cNvPr id="41" name="Text Placeholder 17">
            <a:extLst>
              <a:ext uri="{FF2B5EF4-FFF2-40B4-BE49-F238E27FC236}">
                <a16:creationId xmlns:a16="http://schemas.microsoft.com/office/drawing/2014/main" id="{C646F4CC-15E4-401F-BC27-7CF470DCE2C6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868801" y="3204000"/>
            <a:ext cx="4891200" cy="657600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666666"/>
                </a:solidFill>
                <a:latin typeface="+mj-lt"/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1"/>
            <a:r>
              <a:rPr lang="en-US"/>
              <a:t>Topic</a:t>
            </a:r>
          </a:p>
        </p:txBody>
      </p:sp>
      <p:sp>
        <p:nvSpPr>
          <p:cNvPr id="42" name="Text Placeholder 17">
            <a:extLst>
              <a:ext uri="{FF2B5EF4-FFF2-40B4-BE49-F238E27FC236}">
                <a16:creationId xmlns:a16="http://schemas.microsoft.com/office/drawing/2014/main" id="{394A2C57-4795-4A36-85B1-5B848A8707A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868801" y="3862400"/>
            <a:ext cx="4891200" cy="657600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666666"/>
                </a:solidFill>
                <a:latin typeface="+mj-lt"/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1"/>
            <a:r>
              <a:rPr lang="en-US"/>
              <a:t>Topic</a:t>
            </a:r>
          </a:p>
        </p:txBody>
      </p:sp>
      <p:sp>
        <p:nvSpPr>
          <p:cNvPr id="43" name="Text Placeholder 17">
            <a:extLst>
              <a:ext uri="{FF2B5EF4-FFF2-40B4-BE49-F238E27FC236}">
                <a16:creationId xmlns:a16="http://schemas.microsoft.com/office/drawing/2014/main" id="{BC74ED1D-CCC6-4EB3-B2BC-1AB9813A31F8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868801" y="4520800"/>
            <a:ext cx="4891200" cy="657600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666666"/>
                </a:solidFill>
                <a:latin typeface="+mj-lt"/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1"/>
            <a:r>
              <a:rPr lang="en-US"/>
              <a:t>Topic</a:t>
            </a:r>
          </a:p>
        </p:txBody>
      </p:sp>
      <p:sp>
        <p:nvSpPr>
          <p:cNvPr id="44" name="Text Placeholder 17">
            <a:extLst>
              <a:ext uri="{FF2B5EF4-FFF2-40B4-BE49-F238E27FC236}">
                <a16:creationId xmlns:a16="http://schemas.microsoft.com/office/drawing/2014/main" id="{CFB69E36-8C34-444C-883B-9706E37C8D4F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68801" y="5179200"/>
            <a:ext cx="4891200" cy="657600"/>
          </a:xfrm>
        </p:spPr>
        <p:txBody>
          <a:bodyPr anchor="ctr">
            <a:noAutofit/>
          </a:bodyPr>
          <a:lstStyle>
            <a:lvl1pPr>
              <a:spcBef>
                <a:spcPts val="0"/>
              </a:spcBef>
              <a:spcAft>
                <a:spcPts val="800"/>
              </a:spcAft>
              <a:defRPr sz="2133">
                <a:solidFill>
                  <a:srgbClr val="666666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000">
                <a:solidFill>
                  <a:srgbClr val="666666"/>
                </a:solidFill>
                <a:latin typeface="+mj-lt"/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1"/>
            <a:r>
              <a:rPr lang="en-US"/>
              <a:t>Topic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EFAE492-7044-43E5-9F2A-214E993BE17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866217" y="1229784"/>
            <a:ext cx="1761600" cy="657600"/>
          </a:xfrm>
        </p:spPr>
        <p:txBody>
          <a:bodyPr anchor="ctr" anchorCtr="0">
            <a:normAutofit/>
          </a:bodyPr>
          <a:lstStyle>
            <a:lvl1pPr>
              <a:defRPr sz="1600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5" name="Text Placeholder 11">
            <a:extLst>
              <a:ext uri="{FF2B5EF4-FFF2-40B4-BE49-F238E27FC236}">
                <a16:creationId xmlns:a16="http://schemas.microsoft.com/office/drawing/2014/main" id="{AD6B0FDE-EEBD-4BC4-B16C-63B0D55C8FE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4866217" y="1888020"/>
            <a:ext cx="1761600" cy="657600"/>
          </a:xfrm>
        </p:spPr>
        <p:txBody>
          <a:bodyPr anchor="ctr" anchorCtr="0">
            <a:normAutofit/>
          </a:bodyPr>
          <a:lstStyle>
            <a:lvl1pPr>
              <a:defRPr sz="1600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36" name="Text Placeholder 11">
            <a:extLst>
              <a:ext uri="{FF2B5EF4-FFF2-40B4-BE49-F238E27FC236}">
                <a16:creationId xmlns:a16="http://schemas.microsoft.com/office/drawing/2014/main" id="{3D3DF682-7299-4E4B-A5D9-681CDA40BCF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866217" y="5179200"/>
            <a:ext cx="1761600" cy="657600"/>
          </a:xfrm>
        </p:spPr>
        <p:txBody>
          <a:bodyPr anchor="ctr" anchorCtr="0">
            <a:normAutofit/>
          </a:bodyPr>
          <a:lstStyle>
            <a:lvl1pPr>
              <a:defRPr sz="1600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45" name="Text Placeholder 11">
            <a:extLst>
              <a:ext uri="{FF2B5EF4-FFF2-40B4-BE49-F238E27FC236}">
                <a16:creationId xmlns:a16="http://schemas.microsoft.com/office/drawing/2014/main" id="{4E12F9DD-D5DB-4218-9BE4-F03DB8DCA7D1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4866217" y="4520964"/>
            <a:ext cx="1761600" cy="657600"/>
          </a:xfrm>
        </p:spPr>
        <p:txBody>
          <a:bodyPr anchor="ctr" anchorCtr="0">
            <a:normAutofit/>
          </a:bodyPr>
          <a:lstStyle>
            <a:lvl1pPr>
              <a:defRPr sz="1600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46" name="Text Placeholder 11">
            <a:extLst>
              <a:ext uri="{FF2B5EF4-FFF2-40B4-BE49-F238E27FC236}">
                <a16:creationId xmlns:a16="http://schemas.microsoft.com/office/drawing/2014/main" id="{127E20F4-00C6-4A59-97CD-90AA85101EF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866217" y="3862728"/>
            <a:ext cx="1761600" cy="657600"/>
          </a:xfrm>
        </p:spPr>
        <p:txBody>
          <a:bodyPr anchor="ctr" anchorCtr="0">
            <a:normAutofit/>
          </a:bodyPr>
          <a:lstStyle>
            <a:lvl1pPr>
              <a:defRPr sz="1600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47" name="Text Placeholder 11">
            <a:extLst>
              <a:ext uri="{FF2B5EF4-FFF2-40B4-BE49-F238E27FC236}">
                <a16:creationId xmlns:a16="http://schemas.microsoft.com/office/drawing/2014/main" id="{3DA1B93C-BCED-424F-8F7C-7505E8D8A5F1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866217" y="3204492"/>
            <a:ext cx="1761600" cy="657600"/>
          </a:xfrm>
        </p:spPr>
        <p:txBody>
          <a:bodyPr anchor="ctr" anchorCtr="0">
            <a:normAutofit/>
          </a:bodyPr>
          <a:lstStyle>
            <a:lvl1pPr>
              <a:defRPr sz="1600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sp>
        <p:nvSpPr>
          <p:cNvPr id="48" name="Text Placeholder 11">
            <a:extLst>
              <a:ext uri="{FF2B5EF4-FFF2-40B4-BE49-F238E27FC236}">
                <a16:creationId xmlns:a16="http://schemas.microsoft.com/office/drawing/2014/main" id="{CC2D9536-24A9-498D-9B2D-3DBC533913E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866217" y="2546256"/>
            <a:ext cx="1761600" cy="657600"/>
          </a:xfrm>
        </p:spPr>
        <p:txBody>
          <a:bodyPr anchor="ctr" anchorCtr="0">
            <a:normAutofit/>
          </a:bodyPr>
          <a:lstStyle>
            <a:lvl1pPr>
              <a:defRPr sz="1600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:00 – 00:00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61F5803C-9204-4C30-889B-0A91AF213B35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34" name="Freeform 5">
              <a:extLst>
                <a:ext uri="{FF2B5EF4-FFF2-40B4-BE49-F238E27FC236}">
                  <a16:creationId xmlns:a16="http://schemas.microsoft.com/office/drawing/2014/main" id="{C9B78F6D-48CE-4438-9CDD-777FCC37C7D6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 6">
              <a:extLst>
                <a:ext uri="{FF2B5EF4-FFF2-40B4-BE49-F238E27FC236}">
                  <a16:creationId xmlns:a16="http://schemas.microsoft.com/office/drawing/2014/main" id="{4973EB05-B274-4062-8A03-EF3F22682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id="{541225BD-577D-4D70-A0D9-73F6EB4E18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57717003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- Presenter Na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" name="Picture 78" descr="Shape, polygon&#10;&#10;Description automatically generated">
            <a:extLst>
              <a:ext uri="{FF2B5EF4-FFF2-40B4-BE49-F238E27FC236}">
                <a16:creationId xmlns:a16="http://schemas.microsoft.com/office/drawing/2014/main" id="{20F6642B-9A60-0B4C-A756-F3555BB420D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  <p:pic>
        <p:nvPicPr>
          <p:cNvPr id="81" name="Picture 80" descr="A picture containing text&#10;&#10;Description automatically generated">
            <a:extLst>
              <a:ext uri="{FF2B5EF4-FFF2-40B4-BE49-F238E27FC236}">
                <a16:creationId xmlns:a16="http://schemas.microsoft.com/office/drawing/2014/main" id="{DF708550-3491-6944-8713-CAB51570A1B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7484" y="315217"/>
            <a:ext cx="2379771" cy="7276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58A6D69-BAB1-4B9F-9F1C-0C24500536B0}"/>
              </a:ext>
            </a:extLst>
          </p:cNvPr>
          <p:cNvSpPr/>
          <p:nvPr userDrawn="1"/>
        </p:nvSpPr>
        <p:spPr>
          <a:xfrm>
            <a:off x="2" y="0"/>
            <a:ext cx="3024719" cy="68580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CEC2D5-9A38-4DBB-9ACE-D7D7C4BA362C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75CAF40-DCF1-404F-A98A-2CD51C2250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18401" y="1257600"/>
            <a:ext cx="926400" cy="849600"/>
          </a:xfrm>
        </p:spPr>
        <p:txBody>
          <a:bodyPr anchor="t" anchorCtr="0">
            <a:noAutofit/>
          </a:bodyPr>
          <a:lstStyle>
            <a:lvl1pPr algn="r">
              <a:defRPr sz="4267" spc="0" baseline="0">
                <a:solidFill>
                  <a:schemeClr val="tx2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A7C7ECF3-9B0C-4FDE-89C6-E6FD13011A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18401" y="3619200"/>
            <a:ext cx="926400" cy="849600"/>
          </a:xfrm>
        </p:spPr>
        <p:txBody>
          <a:bodyPr anchor="t" anchorCtr="0">
            <a:noAutofit/>
          </a:bodyPr>
          <a:lstStyle>
            <a:lvl1pPr algn="r">
              <a:defRPr sz="4267" spc="0" baseline="0">
                <a:solidFill>
                  <a:schemeClr val="accent4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6477CD61-8155-4897-9AA4-43468BB495B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18401" y="4800000"/>
            <a:ext cx="926400" cy="849600"/>
          </a:xfrm>
        </p:spPr>
        <p:txBody>
          <a:bodyPr anchor="t" anchorCtr="0">
            <a:noAutofit/>
          </a:bodyPr>
          <a:lstStyle>
            <a:lvl1pPr algn="r">
              <a:defRPr sz="4267" spc="0" baseline="0">
                <a:solidFill>
                  <a:schemeClr val="accent3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87" name="Text Placeholder 13">
            <a:extLst>
              <a:ext uri="{FF2B5EF4-FFF2-40B4-BE49-F238E27FC236}">
                <a16:creationId xmlns:a16="http://schemas.microsoft.com/office/drawing/2014/main" id="{63EC7F57-1C57-4358-A3D7-1FA28962C29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7734801" y="2438400"/>
            <a:ext cx="926400" cy="849600"/>
          </a:xfrm>
        </p:spPr>
        <p:txBody>
          <a:bodyPr anchor="t" anchorCtr="0">
            <a:noAutofit/>
          </a:bodyPr>
          <a:lstStyle>
            <a:lvl1pPr algn="r">
              <a:defRPr sz="4267" spc="0" baseline="0">
                <a:solidFill>
                  <a:schemeClr val="accent6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96" name="Text Placeholder 13">
            <a:extLst>
              <a:ext uri="{FF2B5EF4-FFF2-40B4-BE49-F238E27FC236}">
                <a16:creationId xmlns:a16="http://schemas.microsoft.com/office/drawing/2014/main" id="{FF50AA91-B7F7-4254-8161-4183AF6D69EB}"/>
              </a:ext>
            </a:extLst>
          </p:cNvPr>
          <p:cNvSpPr>
            <a:spLocks noGrp="1"/>
          </p:cNvSpPr>
          <p:nvPr>
            <p:ph type="body" sz="quarter" idx="71" hasCustomPrompt="1"/>
          </p:nvPr>
        </p:nvSpPr>
        <p:spPr>
          <a:xfrm>
            <a:off x="7734801" y="3619200"/>
            <a:ext cx="926400" cy="849600"/>
          </a:xfrm>
        </p:spPr>
        <p:txBody>
          <a:bodyPr anchor="t" anchorCtr="0">
            <a:noAutofit/>
          </a:bodyPr>
          <a:lstStyle>
            <a:lvl1pPr algn="r">
              <a:defRPr sz="4267" spc="0" baseline="0">
                <a:solidFill>
                  <a:srgbClr val="E21D60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05" name="Text Placeholder 11">
            <a:extLst>
              <a:ext uri="{FF2B5EF4-FFF2-40B4-BE49-F238E27FC236}">
                <a16:creationId xmlns:a16="http://schemas.microsoft.com/office/drawing/2014/main" id="{7DFE5359-80DA-4AB8-9A32-B728CAEF990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584001" y="16080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06" name="Text Placeholder 11">
            <a:extLst>
              <a:ext uri="{FF2B5EF4-FFF2-40B4-BE49-F238E27FC236}">
                <a16:creationId xmlns:a16="http://schemas.microsoft.com/office/drawing/2014/main" id="{E98F95EC-068C-4AB0-8DA6-8C8C7D9CE37E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4584001" y="20688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107" name="Text Placeholder 11">
            <a:extLst>
              <a:ext uri="{FF2B5EF4-FFF2-40B4-BE49-F238E27FC236}">
                <a16:creationId xmlns:a16="http://schemas.microsoft.com/office/drawing/2014/main" id="{3DEF6142-04CC-4ED6-BF99-0ADD61431509}"/>
              </a:ext>
            </a:extLst>
          </p:cNvPr>
          <p:cNvSpPr>
            <a:spLocks noGrp="1"/>
          </p:cNvSpPr>
          <p:nvPr>
            <p:ph type="body" sz="quarter" idx="73" hasCustomPrompt="1"/>
          </p:nvPr>
        </p:nvSpPr>
        <p:spPr>
          <a:xfrm>
            <a:off x="4584001" y="18384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108" name="Text Placeholder 11">
            <a:extLst>
              <a:ext uri="{FF2B5EF4-FFF2-40B4-BE49-F238E27FC236}">
                <a16:creationId xmlns:a16="http://schemas.microsoft.com/office/drawing/2014/main" id="{3DB19055-F0A4-4433-98DA-7C3EC1DED3AC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7137600" y="16080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09" name="Text Placeholder 11">
            <a:extLst>
              <a:ext uri="{FF2B5EF4-FFF2-40B4-BE49-F238E27FC236}">
                <a16:creationId xmlns:a16="http://schemas.microsoft.com/office/drawing/2014/main" id="{5988A211-A462-4382-9B73-C6622E3C1171}"/>
              </a:ext>
            </a:extLst>
          </p:cNvPr>
          <p:cNvSpPr>
            <a:spLocks noGrp="1"/>
          </p:cNvSpPr>
          <p:nvPr>
            <p:ph type="body" sz="quarter" idx="75" hasCustomPrompt="1"/>
          </p:nvPr>
        </p:nvSpPr>
        <p:spPr>
          <a:xfrm>
            <a:off x="7137600" y="20688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10" name="Text Placeholder 11">
            <a:extLst>
              <a:ext uri="{FF2B5EF4-FFF2-40B4-BE49-F238E27FC236}">
                <a16:creationId xmlns:a16="http://schemas.microsoft.com/office/drawing/2014/main" id="{C6FEFAFE-30D6-4F88-9D1A-C7AEB8F9EC5F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7137600" y="18384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37" name="Text Placeholder 13">
            <a:extLst>
              <a:ext uri="{FF2B5EF4-FFF2-40B4-BE49-F238E27FC236}">
                <a16:creationId xmlns:a16="http://schemas.microsoft.com/office/drawing/2014/main" id="{9494BA91-4138-4485-885B-A9F489117268}"/>
              </a:ext>
            </a:extLst>
          </p:cNvPr>
          <p:cNvSpPr>
            <a:spLocks noGrp="1"/>
          </p:cNvSpPr>
          <p:nvPr>
            <p:ph type="body" sz="quarter" idx="86" hasCustomPrompt="1"/>
          </p:nvPr>
        </p:nvSpPr>
        <p:spPr>
          <a:xfrm>
            <a:off x="3518401" y="2438400"/>
            <a:ext cx="926400" cy="849600"/>
          </a:xfrm>
        </p:spPr>
        <p:txBody>
          <a:bodyPr anchor="t" anchorCtr="0">
            <a:noAutofit/>
          </a:bodyPr>
          <a:lstStyle>
            <a:lvl1pPr algn="r">
              <a:defRPr sz="4267" spc="0" baseline="0">
                <a:solidFill>
                  <a:srgbClr val="C15EFF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82" name="Text Placeholder 11">
            <a:extLst>
              <a:ext uri="{FF2B5EF4-FFF2-40B4-BE49-F238E27FC236}">
                <a16:creationId xmlns:a16="http://schemas.microsoft.com/office/drawing/2014/main" id="{55F75FCF-8D50-44D6-9FD3-CB95B5A4C65D}"/>
              </a:ext>
            </a:extLst>
          </p:cNvPr>
          <p:cNvSpPr>
            <a:spLocks noGrp="1"/>
          </p:cNvSpPr>
          <p:nvPr>
            <p:ph type="body" sz="quarter" idx="131" hasCustomPrompt="1"/>
          </p:nvPr>
        </p:nvSpPr>
        <p:spPr>
          <a:xfrm>
            <a:off x="4584001" y="1320000"/>
            <a:ext cx="2529600" cy="278400"/>
          </a:xfrm>
        </p:spPr>
        <p:txBody>
          <a:bodyPr anchor="ctr" anchorCtr="0">
            <a:noAutofit/>
          </a:bodyPr>
          <a:lstStyle>
            <a:lvl1pPr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Subject title</a:t>
            </a:r>
          </a:p>
        </p:txBody>
      </p:sp>
      <p:sp>
        <p:nvSpPr>
          <p:cNvPr id="183" name="Text Placeholder 11">
            <a:extLst>
              <a:ext uri="{FF2B5EF4-FFF2-40B4-BE49-F238E27FC236}">
                <a16:creationId xmlns:a16="http://schemas.microsoft.com/office/drawing/2014/main" id="{002D017E-F843-474A-8F00-A1FE9472CFCD}"/>
              </a:ext>
            </a:extLst>
          </p:cNvPr>
          <p:cNvSpPr>
            <a:spLocks noGrp="1"/>
          </p:cNvSpPr>
          <p:nvPr>
            <p:ph type="body" sz="quarter" idx="132" hasCustomPrompt="1"/>
          </p:nvPr>
        </p:nvSpPr>
        <p:spPr>
          <a:xfrm>
            <a:off x="7137600" y="1320000"/>
            <a:ext cx="412800" cy="273600"/>
          </a:xfrm>
        </p:spPr>
        <p:txBody>
          <a:bodyPr anchor="t" anchorCtr="0">
            <a:noAutofit/>
          </a:bodyPr>
          <a:lstStyle>
            <a:lvl1pPr algn="r"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195" name="Text Placeholder 13">
            <a:extLst>
              <a:ext uri="{FF2B5EF4-FFF2-40B4-BE49-F238E27FC236}">
                <a16:creationId xmlns:a16="http://schemas.microsoft.com/office/drawing/2014/main" id="{136B5A7D-E39C-4AF6-B794-13BE4DC65CB7}"/>
              </a:ext>
            </a:extLst>
          </p:cNvPr>
          <p:cNvSpPr>
            <a:spLocks noGrp="1"/>
          </p:cNvSpPr>
          <p:nvPr>
            <p:ph type="body" sz="quarter" idx="133" hasCustomPrompt="1"/>
          </p:nvPr>
        </p:nvSpPr>
        <p:spPr>
          <a:xfrm>
            <a:off x="7734801" y="1257600"/>
            <a:ext cx="926400" cy="849600"/>
          </a:xfrm>
        </p:spPr>
        <p:txBody>
          <a:bodyPr anchor="t" anchorCtr="0">
            <a:noAutofit/>
          </a:bodyPr>
          <a:lstStyle>
            <a:lvl1pPr algn="r">
              <a:defRPr sz="4267" spc="0" baseline="0">
                <a:solidFill>
                  <a:srgbClr val="C15EFF"/>
                </a:solidFill>
                <a:latin typeface="RR Pioneer Light Condensed" panose="020B0306050201060103" pitchFamily="34" charset="0"/>
              </a:defRPr>
            </a:lvl1pPr>
          </a:lstStyle>
          <a:p>
            <a:pPr lvl="0"/>
            <a:r>
              <a:rPr lang="en-US"/>
              <a:t>##</a:t>
            </a:r>
          </a:p>
        </p:txBody>
      </p:sp>
      <p:sp>
        <p:nvSpPr>
          <p:cNvPr id="196" name="Text Placeholder 11">
            <a:extLst>
              <a:ext uri="{FF2B5EF4-FFF2-40B4-BE49-F238E27FC236}">
                <a16:creationId xmlns:a16="http://schemas.microsoft.com/office/drawing/2014/main" id="{46CF5F37-BA7A-4F50-B08C-836632764E52}"/>
              </a:ext>
            </a:extLst>
          </p:cNvPr>
          <p:cNvSpPr>
            <a:spLocks noGrp="1"/>
          </p:cNvSpPr>
          <p:nvPr>
            <p:ph type="body" sz="quarter" idx="134" hasCustomPrompt="1"/>
          </p:nvPr>
        </p:nvSpPr>
        <p:spPr>
          <a:xfrm>
            <a:off x="8800401" y="16080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197" name="Text Placeholder 11">
            <a:extLst>
              <a:ext uri="{FF2B5EF4-FFF2-40B4-BE49-F238E27FC236}">
                <a16:creationId xmlns:a16="http://schemas.microsoft.com/office/drawing/2014/main" id="{F4557F8F-5410-4349-B7FE-63320242DCDC}"/>
              </a:ext>
            </a:extLst>
          </p:cNvPr>
          <p:cNvSpPr>
            <a:spLocks noGrp="1"/>
          </p:cNvSpPr>
          <p:nvPr>
            <p:ph type="body" sz="quarter" idx="135" hasCustomPrompt="1"/>
          </p:nvPr>
        </p:nvSpPr>
        <p:spPr>
          <a:xfrm>
            <a:off x="8800401" y="20688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198" name="Text Placeholder 11">
            <a:extLst>
              <a:ext uri="{FF2B5EF4-FFF2-40B4-BE49-F238E27FC236}">
                <a16:creationId xmlns:a16="http://schemas.microsoft.com/office/drawing/2014/main" id="{1603CE92-A27B-46D1-91D5-BC350E2324AE}"/>
              </a:ext>
            </a:extLst>
          </p:cNvPr>
          <p:cNvSpPr>
            <a:spLocks noGrp="1"/>
          </p:cNvSpPr>
          <p:nvPr>
            <p:ph type="body" sz="quarter" idx="136" hasCustomPrompt="1"/>
          </p:nvPr>
        </p:nvSpPr>
        <p:spPr>
          <a:xfrm>
            <a:off x="8800401" y="18384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199" name="Text Placeholder 11">
            <a:extLst>
              <a:ext uri="{FF2B5EF4-FFF2-40B4-BE49-F238E27FC236}">
                <a16:creationId xmlns:a16="http://schemas.microsoft.com/office/drawing/2014/main" id="{1AC1689F-7680-4666-AA85-B25DB8AC4EEC}"/>
              </a:ext>
            </a:extLst>
          </p:cNvPr>
          <p:cNvSpPr>
            <a:spLocks noGrp="1"/>
          </p:cNvSpPr>
          <p:nvPr>
            <p:ph type="body" sz="quarter" idx="137" hasCustomPrompt="1"/>
          </p:nvPr>
        </p:nvSpPr>
        <p:spPr>
          <a:xfrm>
            <a:off x="11354000" y="16080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00" name="Text Placeholder 11">
            <a:extLst>
              <a:ext uri="{FF2B5EF4-FFF2-40B4-BE49-F238E27FC236}">
                <a16:creationId xmlns:a16="http://schemas.microsoft.com/office/drawing/2014/main" id="{6D1AEEBB-8F7D-44C7-87FD-216F815A2A02}"/>
              </a:ext>
            </a:extLst>
          </p:cNvPr>
          <p:cNvSpPr>
            <a:spLocks noGrp="1"/>
          </p:cNvSpPr>
          <p:nvPr>
            <p:ph type="body" sz="quarter" idx="138" hasCustomPrompt="1"/>
          </p:nvPr>
        </p:nvSpPr>
        <p:spPr>
          <a:xfrm>
            <a:off x="11354000" y="20688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01" name="Text Placeholder 11">
            <a:extLst>
              <a:ext uri="{FF2B5EF4-FFF2-40B4-BE49-F238E27FC236}">
                <a16:creationId xmlns:a16="http://schemas.microsoft.com/office/drawing/2014/main" id="{9DC0BCFB-89ED-4228-88FE-C6A8FCE5669C}"/>
              </a:ext>
            </a:extLst>
          </p:cNvPr>
          <p:cNvSpPr>
            <a:spLocks noGrp="1"/>
          </p:cNvSpPr>
          <p:nvPr>
            <p:ph type="body" sz="quarter" idx="139" hasCustomPrompt="1"/>
          </p:nvPr>
        </p:nvSpPr>
        <p:spPr>
          <a:xfrm>
            <a:off x="11354000" y="18384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02" name="Text Placeholder 11">
            <a:extLst>
              <a:ext uri="{FF2B5EF4-FFF2-40B4-BE49-F238E27FC236}">
                <a16:creationId xmlns:a16="http://schemas.microsoft.com/office/drawing/2014/main" id="{9AE691F4-509D-4DB3-B9F6-5EE4EC7BAAE2}"/>
              </a:ext>
            </a:extLst>
          </p:cNvPr>
          <p:cNvSpPr>
            <a:spLocks noGrp="1"/>
          </p:cNvSpPr>
          <p:nvPr>
            <p:ph type="body" sz="quarter" idx="140" hasCustomPrompt="1"/>
          </p:nvPr>
        </p:nvSpPr>
        <p:spPr>
          <a:xfrm>
            <a:off x="8800401" y="1320000"/>
            <a:ext cx="2529600" cy="278400"/>
          </a:xfrm>
        </p:spPr>
        <p:txBody>
          <a:bodyPr anchor="ctr" anchorCtr="0">
            <a:noAutofit/>
          </a:bodyPr>
          <a:lstStyle>
            <a:lvl1pPr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Subject title</a:t>
            </a:r>
          </a:p>
        </p:txBody>
      </p:sp>
      <p:sp>
        <p:nvSpPr>
          <p:cNvPr id="203" name="Text Placeholder 11">
            <a:extLst>
              <a:ext uri="{FF2B5EF4-FFF2-40B4-BE49-F238E27FC236}">
                <a16:creationId xmlns:a16="http://schemas.microsoft.com/office/drawing/2014/main" id="{78D99107-2B22-4C13-A879-D51C293B91AF}"/>
              </a:ext>
            </a:extLst>
          </p:cNvPr>
          <p:cNvSpPr>
            <a:spLocks noGrp="1"/>
          </p:cNvSpPr>
          <p:nvPr>
            <p:ph type="body" sz="quarter" idx="141" hasCustomPrompt="1"/>
          </p:nvPr>
        </p:nvSpPr>
        <p:spPr>
          <a:xfrm>
            <a:off x="11354000" y="1320000"/>
            <a:ext cx="412800" cy="273600"/>
          </a:xfrm>
        </p:spPr>
        <p:txBody>
          <a:bodyPr anchor="t" anchorCtr="0">
            <a:noAutofit/>
          </a:bodyPr>
          <a:lstStyle>
            <a:lvl1pPr algn="r"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05" name="Text Placeholder 11">
            <a:extLst>
              <a:ext uri="{FF2B5EF4-FFF2-40B4-BE49-F238E27FC236}">
                <a16:creationId xmlns:a16="http://schemas.microsoft.com/office/drawing/2014/main" id="{6E3F6195-E96F-4257-B5A3-71A1627C3D01}"/>
              </a:ext>
            </a:extLst>
          </p:cNvPr>
          <p:cNvSpPr>
            <a:spLocks noGrp="1"/>
          </p:cNvSpPr>
          <p:nvPr>
            <p:ph type="body" sz="quarter" idx="143" hasCustomPrompt="1"/>
          </p:nvPr>
        </p:nvSpPr>
        <p:spPr>
          <a:xfrm>
            <a:off x="8800401" y="27888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06" name="Text Placeholder 11">
            <a:extLst>
              <a:ext uri="{FF2B5EF4-FFF2-40B4-BE49-F238E27FC236}">
                <a16:creationId xmlns:a16="http://schemas.microsoft.com/office/drawing/2014/main" id="{693D7ABF-8C1C-48D1-9A19-1F56EA8CEE26}"/>
              </a:ext>
            </a:extLst>
          </p:cNvPr>
          <p:cNvSpPr>
            <a:spLocks noGrp="1"/>
          </p:cNvSpPr>
          <p:nvPr>
            <p:ph type="body" sz="quarter" idx="144" hasCustomPrompt="1"/>
          </p:nvPr>
        </p:nvSpPr>
        <p:spPr>
          <a:xfrm>
            <a:off x="8800401" y="32496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07" name="Text Placeholder 11">
            <a:extLst>
              <a:ext uri="{FF2B5EF4-FFF2-40B4-BE49-F238E27FC236}">
                <a16:creationId xmlns:a16="http://schemas.microsoft.com/office/drawing/2014/main" id="{E43BC384-2614-4BA8-BE5B-FD338EA01FE0}"/>
              </a:ext>
            </a:extLst>
          </p:cNvPr>
          <p:cNvSpPr>
            <a:spLocks noGrp="1"/>
          </p:cNvSpPr>
          <p:nvPr>
            <p:ph type="body" sz="quarter" idx="145" hasCustomPrompt="1"/>
          </p:nvPr>
        </p:nvSpPr>
        <p:spPr>
          <a:xfrm>
            <a:off x="8800401" y="30192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08" name="Text Placeholder 11">
            <a:extLst>
              <a:ext uri="{FF2B5EF4-FFF2-40B4-BE49-F238E27FC236}">
                <a16:creationId xmlns:a16="http://schemas.microsoft.com/office/drawing/2014/main" id="{8802BFF0-0C42-4981-B310-D11CD7694C5C}"/>
              </a:ext>
            </a:extLst>
          </p:cNvPr>
          <p:cNvSpPr>
            <a:spLocks noGrp="1"/>
          </p:cNvSpPr>
          <p:nvPr>
            <p:ph type="body" sz="quarter" idx="146" hasCustomPrompt="1"/>
          </p:nvPr>
        </p:nvSpPr>
        <p:spPr>
          <a:xfrm>
            <a:off x="11354000" y="27888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09" name="Text Placeholder 11">
            <a:extLst>
              <a:ext uri="{FF2B5EF4-FFF2-40B4-BE49-F238E27FC236}">
                <a16:creationId xmlns:a16="http://schemas.microsoft.com/office/drawing/2014/main" id="{B5DA4374-FEBC-47D2-848B-BD35233F5FEF}"/>
              </a:ext>
            </a:extLst>
          </p:cNvPr>
          <p:cNvSpPr>
            <a:spLocks noGrp="1"/>
          </p:cNvSpPr>
          <p:nvPr>
            <p:ph type="body" sz="quarter" idx="147" hasCustomPrompt="1"/>
          </p:nvPr>
        </p:nvSpPr>
        <p:spPr>
          <a:xfrm>
            <a:off x="11354000" y="32496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10" name="Text Placeholder 11">
            <a:extLst>
              <a:ext uri="{FF2B5EF4-FFF2-40B4-BE49-F238E27FC236}">
                <a16:creationId xmlns:a16="http://schemas.microsoft.com/office/drawing/2014/main" id="{13DE8CDC-95CC-4BFF-A06E-32A5883490B0}"/>
              </a:ext>
            </a:extLst>
          </p:cNvPr>
          <p:cNvSpPr>
            <a:spLocks noGrp="1"/>
          </p:cNvSpPr>
          <p:nvPr>
            <p:ph type="body" sz="quarter" idx="148" hasCustomPrompt="1"/>
          </p:nvPr>
        </p:nvSpPr>
        <p:spPr>
          <a:xfrm>
            <a:off x="11354000" y="30192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11" name="Text Placeholder 11">
            <a:extLst>
              <a:ext uri="{FF2B5EF4-FFF2-40B4-BE49-F238E27FC236}">
                <a16:creationId xmlns:a16="http://schemas.microsoft.com/office/drawing/2014/main" id="{5D2213E3-F451-4DAD-BF06-48CFB1145280}"/>
              </a:ext>
            </a:extLst>
          </p:cNvPr>
          <p:cNvSpPr>
            <a:spLocks noGrp="1"/>
          </p:cNvSpPr>
          <p:nvPr>
            <p:ph type="body" sz="quarter" idx="149" hasCustomPrompt="1"/>
          </p:nvPr>
        </p:nvSpPr>
        <p:spPr>
          <a:xfrm>
            <a:off x="8800401" y="2500800"/>
            <a:ext cx="2529600" cy="278400"/>
          </a:xfrm>
        </p:spPr>
        <p:txBody>
          <a:bodyPr anchor="ctr" anchorCtr="0">
            <a:noAutofit/>
          </a:bodyPr>
          <a:lstStyle>
            <a:lvl1pPr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Subject title</a:t>
            </a:r>
          </a:p>
        </p:txBody>
      </p:sp>
      <p:sp>
        <p:nvSpPr>
          <p:cNvPr id="212" name="Text Placeholder 11">
            <a:extLst>
              <a:ext uri="{FF2B5EF4-FFF2-40B4-BE49-F238E27FC236}">
                <a16:creationId xmlns:a16="http://schemas.microsoft.com/office/drawing/2014/main" id="{8A928A0D-F470-42B2-B53B-3D19D33D76C4}"/>
              </a:ext>
            </a:extLst>
          </p:cNvPr>
          <p:cNvSpPr>
            <a:spLocks noGrp="1"/>
          </p:cNvSpPr>
          <p:nvPr>
            <p:ph type="body" sz="quarter" idx="150" hasCustomPrompt="1"/>
          </p:nvPr>
        </p:nvSpPr>
        <p:spPr>
          <a:xfrm>
            <a:off x="11354000" y="2500800"/>
            <a:ext cx="412800" cy="273600"/>
          </a:xfrm>
        </p:spPr>
        <p:txBody>
          <a:bodyPr anchor="t" anchorCtr="0">
            <a:noAutofit/>
          </a:bodyPr>
          <a:lstStyle>
            <a:lvl1pPr algn="r"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14" name="Text Placeholder 11">
            <a:extLst>
              <a:ext uri="{FF2B5EF4-FFF2-40B4-BE49-F238E27FC236}">
                <a16:creationId xmlns:a16="http://schemas.microsoft.com/office/drawing/2014/main" id="{7A010876-1E6B-43B4-971E-53E187564DBA}"/>
              </a:ext>
            </a:extLst>
          </p:cNvPr>
          <p:cNvSpPr>
            <a:spLocks noGrp="1"/>
          </p:cNvSpPr>
          <p:nvPr>
            <p:ph type="body" sz="quarter" idx="152" hasCustomPrompt="1"/>
          </p:nvPr>
        </p:nvSpPr>
        <p:spPr>
          <a:xfrm>
            <a:off x="4584001" y="27888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15" name="Text Placeholder 11">
            <a:extLst>
              <a:ext uri="{FF2B5EF4-FFF2-40B4-BE49-F238E27FC236}">
                <a16:creationId xmlns:a16="http://schemas.microsoft.com/office/drawing/2014/main" id="{E2A44838-39BA-431E-90AE-0E331200F980}"/>
              </a:ext>
            </a:extLst>
          </p:cNvPr>
          <p:cNvSpPr>
            <a:spLocks noGrp="1"/>
          </p:cNvSpPr>
          <p:nvPr>
            <p:ph type="body" sz="quarter" idx="153" hasCustomPrompt="1"/>
          </p:nvPr>
        </p:nvSpPr>
        <p:spPr>
          <a:xfrm>
            <a:off x="4584001" y="32496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16" name="Text Placeholder 11">
            <a:extLst>
              <a:ext uri="{FF2B5EF4-FFF2-40B4-BE49-F238E27FC236}">
                <a16:creationId xmlns:a16="http://schemas.microsoft.com/office/drawing/2014/main" id="{3AA3CD39-1402-4270-8890-0E33FC9F5FAA}"/>
              </a:ext>
            </a:extLst>
          </p:cNvPr>
          <p:cNvSpPr>
            <a:spLocks noGrp="1"/>
          </p:cNvSpPr>
          <p:nvPr>
            <p:ph type="body" sz="quarter" idx="154" hasCustomPrompt="1"/>
          </p:nvPr>
        </p:nvSpPr>
        <p:spPr>
          <a:xfrm>
            <a:off x="4584001" y="30192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17" name="Text Placeholder 11">
            <a:extLst>
              <a:ext uri="{FF2B5EF4-FFF2-40B4-BE49-F238E27FC236}">
                <a16:creationId xmlns:a16="http://schemas.microsoft.com/office/drawing/2014/main" id="{077AEBFE-FC17-4D68-9DDF-57A2645FA65B}"/>
              </a:ext>
            </a:extLst>
          </p:cNvPr>
          <p:cNvSpPr>
            <a:spLocks noGrp="1"/>
          </p:cNvSpPr>
          <p:nvPr>
            <p:ph type="body" sz="quarter" idx="155" hasCustomPrompt="1"/>
          </p:nvPr>
        </p:nvSpPr>
        <p:spPr>
          <a:xfrm>
            <a:off x="7137600" y="27888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18" name="Text Placeholder 11">
            <a:extLst>
              <a:ext uri="{FF2B5EF4-FFF2-40B4-BE49-F238E27FC236}">
                <a16:creationId xmlns:a16="http://schemas.microsoft.com/office/drawing/2014/main" id="{B35F3DB5-C1F0-4B9F-A0EB-A11164105A5E}"/>
              </a:ext>
            </a:extLst>
          </p:cNvPr>
          <p:cNvSpPr>
            <a:spLocks noGrp="1"/>
          </p:cNvSpPr>
          <p:nvPr>
            <p:ph type="body" sz="quarter" idx="156" hasCustomPrompt="1"/>
          </p:nvPr>
        </p:nvSpPr>
        <p:spPr>
          <a:xfrm>
            <a:off x="7137600" y="32496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19" name="Text Placeholder 11">
            <a:extLst>
              <a:ext uri="{FF2B5EF4-FFF2-40B4-BE49-F238E27FC236}">
                <a16:creationId xmlns:a16="http://schemas.microsoft.com/office/drawing/2014/main" id="{A8FCBE80-4A90-4B30-8253-934B693F77A6}"/>
              </a:ext>
            </a:extLst>
          </p:cNvPr>
          <p:cNvSpPr>
            <a:spLocks noGrp="1"/>
          </p:cNvSpPr>
          <p:nvPr>
            <p:ph type="body" sz="quarter" idx="157" hasCustomPrompt="1"/>
          </p:nvPr>
        </p:nvSpPr>
        <p:spPr>
          <a:xfrm>
            <a:off x="7137600" y="30192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20" name="Text Placeholder 11">
            <a:extLst>
              <a:ext uri="{FF2B5EF4-FFF2-40B4-BE49-F238E27FC236}">
                <a16:creationId xmlns:a16="http://schemas.microsoft.com/office/drawing/2014/main" id="{339FED6D-7FF5-4352-B20C-4A77FBA90D00}"/>
              </a:ext>
            </a:extLst>
          </p:cNvPr>
          <p:cNvSpPr>
            <a:spLocks noGrp="1"/>
          </p:cNvSpPr>
          <p:nvPr>
            <p:ph type="body" sz="quarter" idx="158" hasCustomPrompt="1"/>
          </p:nvPr>
        </p:nvSpPr>
        <p:spPr>
          <a:xfrm>
            <a:off x="4584001" y="2500800"/>
            <a:ext cx="2529600" cy="278400"/>
          </a:xfrm>
        </p:spPr>
        <p:txBody>
          <a:bodyPr anchor="ctr" anchorCtr="0">
            <a:noAutofit/>
          </a:bodyPr>
          <a:lstStyle>
            <a:lvl1pPr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Subject title</a:t>
            </a:r>
          </a:p>
        </p:txBody>
      </p:sp>
      <p:sp>
        <p:nvSpPr>
          <p:cNvPr id="221" name="Text Placeholder 11">
            <a:extLst>
              <a:ext uri="{FF2B5EF4-FFF2-40B4-BE49-F238E27FC236}">
                <a16:creationId xmlns:a16="http://schemas.microsoft.com/office/drawing/2014/main" id="{81BFDFC7-C8E1-45BB-A814-2421868AF385}"/>
              </a:ext>
            </a:extLst>
          </p:cNvPr>
          <p:cNvSpPr>
            <a:spLocks noGrp="1"/>
          </p:cNvSpPr>
          <p:nvPr>
            <p:ph type="body" sz="quarter" idx="159" hasCustomPrompt="1"/>
          </p:nvPr>
        </p:nvSpPr>
        <p:spPr>
          <a:xfrm>
            <a:off x="7137600" y="2500800"/>
            <a:ext cx="412800" cy="273600"/>
          </a:xfrm>
        </p:spPr>
        <p:txBody>
          <a:bodyPr anchor="t" anchorCtr="0">
            <a:noAutofit/>
          </a:bodyPr>
          <a:lstStyle>
            <a:lvl1pPr algn="r"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23" name="Text Placeholder 11">
            <a:extLst>
              <a:ext uri="{FF2B5EF4-FFF2-40B4-BE49-F238E27FC236}">
                <a16:creationId xmlns:a16="http://schemas.microsoft.com/office/drawing/2014/main" id="{77A56D37-0D7B-424B-98ED-373EDFE7E297}"/>
              </a:ext>
            </a:extLst>
          </p:cNvPr>
          <p:cNvSpPr>
            <a:spLocks noGrp="1"/>
          </p:cNvSpPr>
          <p:nvPr>
            <p:ph type="body" sz="quarter" idx="161" hasCustomPrompt="1"/>
          </p:nvPr>
        </p:nvSpPr>
        <p:spPr>
          <a:xfrm>
            <a:off x="4584001" y="39696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24" name="Text Placeholder 11">
            <a:extLst>
              <a:ext uri="{FF2B5EF4-FFF2-40B4-BE49-F238E27FC236}">
                <a16:creationId xmlns:a16="http://schemas.microsoft.com/office/drawing/2014/main" id="{EA1DE5F6-AD75-4FCB-BDCC-A27A9B5F2F06}"/>
              </a:ext>
            </a:extLst>
          </p:cNvPr>
          <p:cNvSpPr>
            <a:spLocks noGrp="1"/>
          </p:cNvSpPr>
          <p:nvPr>
            <p:ph type="body" sz="quarter" idx="162" hasCustomPrompt="1"/>
          </p:nvPr>
        </p:nvSpPr>
        <p:spPr>
          <a:xfrm>
            <a:off x="4584001" y="44304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25" name="Text Placeholder 11">
            <a:extLst>
              <a:ext uri="{FF2B5EF4-FFF2-40B4-BE49-F238E27FC236}">
                <a16:creationId xmlns:a16="http://schemas.microsoft.com/office/drawing/2014/main" id="{E88B79A7-F858-4E58-BBDD-B529D45EADB8}"/>
              </a:ext>
            </a:extLst>
          </p:cNvPr>
          <p:cNvSpPr>
            <a:spLocks noGrp="1"/>
          </p:cNvSpPr>
          <p:nvPr>
            <p:ph type="body" sz="quarter" idx="163" hasCustomPrompt="1"/>
          </p:nvPr>
        </p:nvSpPr>
        <p:spPr>
          <a:xfrm>
            <a:off x="4584001" y="42000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26" name="Text Placeholder 11">
            <a:extLst>
              <a:ext uri="{FF2B5EF4-FFF2-40B4-BE49-F238E27FC236}">
                <a16:creationId xmlns:a16="http://schemas.microsoft.com/office/drawing/2014/main" id="{351A1A2C-4FE4-4442-9F64-D7E81C877F03}"/>
              </a:ext>
            </a:extLst>
          </p:cNvPr>
          <p:cNvSpPr>
            <a:spLocks noGrp="1"/>
          </p:cNvSpPr>
          <p:nvPr>
            <p:ph type="body" sz="quarter" idx="164" hasCustomPrompt="1"/>
          </p:nvPr>
        </p:nvSpPr>
        <p:spPr>
          <a:xfrm>
            <a:off x="7137600" y="39696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27" name="Text Placeholder 11">
            <a:extLst>
              <a:ext uri="{FF2B5EF4-FFF2-40B4-BE49-F238E27FC236}">
                <a16:creationId xmlns:a16="http://schemas.microsoft.com/office/drawing/2014/main" id="{9C05EA04-ECAC-4B8B-A27E-457E84FD6D6E}"/>
              </a:ext>
            </a:extLst>
          </p:cNvPr>
          <p:cNvSpPr>
            <a:spLocks noGrp="1"/>
          </p:cNvSpPr>
          <p:nvPr>
            <p:ph type="body" sz="quarter" idx="165" hasCustomPrompt="1"/>
          </p:nvPr>
        </p:nvSpPr>
        <p:spPr>
          <a:xfrm>
            <a:off x="7137600" y="44304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28" name="Text Placeholder 11">
            <a:extLst>
              <a:ext uri="{FF2B5EF4-FFF2-40B4-BE49-F238E27FC236}">
                <a16:creationId xmlns:a16="http://schemas.microsoft.com/office/drawing/2014/main" id="{930D3582-7E06-45F3-A006-DE339000094C}"/>
              </a:ext>
            </a:extLst>
          </p:cNvPr>
          <p:cNvSpPr>
            <a:spLocks noGrp="1"/>
          </p:cNvSpPr>
          <p:nvPr>
            <p:ph type="body" sz="quarter" idx="166" hasCustomPrompt="1"/>
          </p:nvPr>
        </p:nvSpPr>
        <p:spPr>
          <a:xfrm>
            <a:off x="7137600" y="42000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29" name="Text Placeholder 11">
            <a:extLst>
              <a:ext uri="{FF2B5EF4-FFF2-40B4-BE49-F238E27FC236}">
                <a16:creationId xmlns:a16="http://schemas.microsoft.com/office/drawing/2014/main" id="{363B46EF-AB6F-491F-8267-9DF1DFEE92BB}"/>
              </a:ext>
            </a:extLst>
          </p:cNvPr>
          <p:cNvSpPr>
            <a:spLocks noGrp="1"/>
          </p:cNvSpPr>
          <p:nvPr>
            <p:ph type="body" sz="quarter" idx="167" hasCustomPrompt="1"/>
          </p:nvPr>
        </p:nvSpPr>
        <p:spPr>
          <a:xfrm>
            <a:off x="4584001" y="3681600"/>
            <a:ext cx="2529600" cy="278400"/>
          </a:xfrm>
        </p:spPr>
        <p:txBody>
          <a:bodyPr anchor="ctr" anchorCtr="0">
            <a:noAutofit/>
          </a:bodyPr>
          <a:lstStyle>
            <a:lvl1pPr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Subject title</a:t>
            </a:r>
          </a:p>
        </p:txBody>
      </p:sp>
      <p:sp>
        <p:nvSpPr>
          <p:cNvPr id="230" name="Text Placeholder 11">
            <a:extLst>
              <a:ext uri="{FF2B5EF4-FFF2-40B4-BE49-F238E27FC236}">
                <a16:creationId xmlns:a16="http://schemas.microsoft.com/office/drawing/2014/main" id="{B34D86FE-580B-4602-876C-F706834124BB}"/>
              </a:ext>
            </a:extLst>
          </p:cNvPr>
          <p:cNvSpPr>
            <a:spLocks noGrp="1"/>
          </p:cNvSpPr>
          <p:nvPr>
            <p:ph type="body" sz="quarter" idx="168" hasCustomPrompt="1"/>
          </p:nvPr>
        </p:nvSpPr>
        <p:spPr>
          <a:xfrm>
            <a:off x="7137600" y="3681600"/>
            <a:ext cx="412800" cy="273600"/>
          </a:xfrm>
        </p:spPr>
        <p:txBody>
          <a:bodyPr anchor="t" anchorCtr="0">
            <a:noAutofit/>
          </a:bodyPr>
          <a:lstStyle>
            <a:lvl1pPr algn="r"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2" name="Text Placeholder 11">
            <a:extLst>
              <a:ext uri="{FF2B5EF4-FFF2-40B4-BE49-F238E27FC236}">
                <a16:creationId xmlns:a16="http://schemas.microsoft.com/office/drawing/2014/main" id="{3552503A-2F02-45C5-AE23-2D9BBF946D5F}"/>
              </a:ext>
            </a:extLst>
          </p:cNvPr>
          <p:cNvSpPr>
            <a:spLocks noGrp="1"/>
          </p:cNvSpPr>
          <p:nvPr>
            <p:ph type="body" sz="quarter" idx="170" hasCustomPrompt="1"/>
          </p:nvPr>
        </p:nvSpPr>
        <p:spPr>
          <a:xfrm>
            <a:off x="4584001" y="51504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33" name="Text Placeholder 11">
            <a:extLst>
              <a:ext uri="{FF2B5EF4-FFF2-40B4-BE49-F238E27FC236}">
                <a16:creationId xmlns:a16="http://schemas.microsoft.com/office/drawing/2014/main" id="{1BBABD89-E84E-4DA9-9DA7-BEFE952EB2B1}"/>
              </a:ext>
            </a:extLst>
          </p:cNvPr>
          <p:cNvSpPr>
            <a:spLocks noGrp="1"/>
          </p:cNvSpPr>
          <p:nvPr>
            <p:ph type="body" sz="quarter" idx="171" hasCustomPrompt="1"/>
          </p:nvPr>
        </p:nvSpPr>
        <p:spPr>
          <a:xfrm>
            <a:off x="4584001" y="56112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34" name="Text Placeholder 11">
            <a:extLst>
              <a:ext uri="{FF2B5EF4-FFF2-40B4-BE49-F238E27FC236}">
                <a16:creationId xmlns:a16="http://schemas.microsoft.com/office/drawing/2014/main" id="{5BE1FF73-C6FA-430D-8266-77C2DB82209E}"/>
              </a:ext>
            </a:extLst>
          </p:cNvPr>
          <p:cNvSpPr>
            <a:spLocks noGrp="1"/>
          </p:cNvSpPr>
          <p:nvPr>
            <p:ph type="body" sz="quarter" idx="172" hasCustomPrompt="1"/>
          </p:nvPr>
        </p:nvSpPr>
        <p:spPr>
          <a:xfrm>
            <a:off x="4584001" y="53808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35" name="Text Placeholder 11">
            <a:extLst>
              <a:ext uri="{FF2B5EF4-FFF2-40B4-BE49-F238E27FC236}">
                <a16:creationId xmlns:a16="http://schemas.microsoft.com/office/drawing/2014/main" id="{FFDDE7F6-2594-4C0E-9CFB-F1FDD0F9409E}"/>
              </a:ext>
            </a:extLst>
          </p:cNvPr>
          <p:cNvSpPr>
            <a:spLocks noGrp="1"/>
          </p:cNvSpPr>
          <p:nvPr>
            <p:ph type="body" sz="quarter" idx="173" hasCustomPrompt="1"/>
          </p:nvPr>
        </p:nvSpPr>
        <p:spPr>
          <a:xfrm>
            <a:off x="7137600" y="51504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6" name="Text Placeholder 11">
            <a:extLst>
              <a:ext uri="{FF2B5EF4-FFF2-40B4-BE49-F238E27FC236}">
                <a16:creationId xmlns:a16="http://schemas.microsoft.com/office/drawing/2014/main" id="{1B6B0FB9-7A74-4E6F-ADE5-EFBE5926602B}"/>
              </a:ext>
            </a:extLst>
          </p:cNvPr>
          <p:cNvSpPr>
            <a:spLocks noGrp="1"/>
          </p:cNvSpPr>
          <p:nvPr>
            <p:ph type="body" sz="quarter" idx="174" hasCustomPrompt="1"/>
          </p:nvPr>
        </p:nvSpPr>
        <p:spPr>
          <a:xfrm>
            <a:off x="7137600" y="56112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7" name="Text Placeholder 11">
            <a:extLst>
              <a:ext uri="{FF2B5EF4-FFF2-40B4-BE49-F238E27FC236}">
                <a16:creationId xmlns:a16="http://schemas.microsoft.com/office/drawing/2014/main" id="{1E5227E1-8B4D-45DB-89FD-9AA6C1114BCE}"/>
              </a:ext>
            </a:extLst>
          </p:cNvPr>
          <p:cNvSpPr>
            <a:spLocks noGrp="1"/>
          </p:cNvSpPr>
          <p:nvPr>
            <p:ph type="body" sz="quarter" idx="175" hasCustomPrompt="1"/>
          </p:nvPr>
        </p:nvSpPr>
        <p:spPr>
          <a:xfrm>
            <a:off x="7137600" y="53808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38" name="Text Placeholder 11">
            <a:extLst>
              <a:ext uri="{FF2B5EF4-FFF2-40B4-BE49-F238E27FC236}">
                <a16:creationId xmlns:a16="http://schemas.microsoft.com/office/drawing/2014/main" id="{B798577F-DF6F-45C1-AE7D-43C282300212}"/>
              </a:ext>
            </a:extLst>
          </p:cNvPr>
          <p:cNvSpPr>
            <a:spLocks noGrp="1"/>
          </p:cNvSpPr>
          <p:nvPr>
            <p:ph type="body" sz="quarter" idx="176" hasCustomPrompt="1"/>
          </p:nvPr>
        </p:nvSpPr>
        <p:spPr>
          <a:xfrm>
            <a:off x="4584001" y="4862400"/>
            <a:ext cx="2529600" cy="278400"/>
          </a:xfrm>
        </p:spPr>
        <p:txBody>
          <a:bodyPr anchor="ctr" anchorCtr="0">
            <a:noAutofit/>
          </a:bodyPr>
          <a:lstStyle>
            <a:lvl1pPr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Subject title</a:t>
            </a:r>
          </a:p>
        </p:txBody>
      </p:sp>
      <p:sp>
        <p:nvSpPr>
          <p:cNvPr id="239" name="Text Placeholder 11">
            <a:extLst>
              <a:ext uri="{FF2B5EF4-FFF2-40B4-BE49-F238E27FC236}">
                <a16:creationId xmlns:a16="http://schemas.microsoft.com/office/drawing/2014/main" id="{9BB67A01-B3F6-4236-8002-731047454187}"/>
              </a:ext>
            </a:extLst>
          </p:cNvPr>
          <p:cNvSpPr>
            <a:spLocks noGrp="1"/>
          </p:cNvSpPr>
          <p:nvPr>
            <p:ph type="body" sz="quarter" idx="177" hasCustomPrompt="1"/>
          </p:nvPr>
        </p:nvSpPr>
        <p:spPr>
          <a:xfrm>
            <a:off x="7137600" y="4862400"/>
            <a:ext cx="412800" cy="273600"/>
          </a:xfrm>
        </p:spPr>
        <p:txBody>
          <a:bodyPr anchor="t" anchorCtr="0">
            <a:noAutofit/>
          </a:bodyPr>
          <a:lstStyle>
            <a:lvl1pPr algn="r"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41" name="Text Placeholder 11">
            <a:extLst>
              <a:ext uri="{FF2B5EF4-FFF2-40B4-BE49-F238E27FC236}">
                <a16:creationId xmlns:a16="http://schemas.microsoft.com/office/drawing/2014/main" id="{1492D783-9E97-4E03-9E1F-862CE8968230}"/>
              </a:ext>
            </a:extLst>
          </p:cNvPr>
          <p:cNvSpPr>
            <a:spLocks noGrp="1"/>
          </p:cNvSpPr>
          <p:nvPr>
            <p:ph type="body" sz="quarter" idx="179" hasCustomPrompt="1"/>
          </p:nvPr>
        </p:nvSpPr>
        <p:spPr>
          <a:xfrm>
            <a:off x="8800401" y="39696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42" name="Text Placeholder 11">
            <a:extLst>
              <a:ext uri="{FF2B5EF4-FFF2-40B4-BE49-F238E27FC236}">
                <a16:creationId xmlns:a16="http://schemas.microsoft.com/office/drawing/2014/main" id="{BB8972E7-31D4-453D-8A40-EDE547C4AB0D}"/>
              </a:ext>
            </a:extLst>
          </p:cNvPr>
          <p:cNvSpPr>
            <a:spLocks noGrp="1"/>
          </p:cNvSpPr>
          <p:nvPr>
            <p:ph type="body" sz="quarter" idx="180" hasCustomPrompt="1"/>
          </p:nvPr>
        </p:nvSpPr>
        <p:spPr>
          <a:xfrm>
            <a:off x="8800401" y="44304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43" name="Text Placeholder 11">
            <a:extLst>
              <a:ext uri="{FF2B5EF4-FFF2-40B4-BE49-F238E27FC236}">
                <a16:creationId xmlns:a16="http://schemas.microsoft.com/office/drawing/2014/main" id="{BBA96762-43C4-435D-96A7-28C137D94316}"/>
              </a:ext>
            </a:extLst>
          </p:cNvPr>
          <p:cNvSpPr>
            <a:spLocks noGrp="1"/>
          </p:cNvSpPr>
          <p:nvPr>
            <p:ph type="body" sz="quarter" idx="181" hasCustomPrompt="1"/>
          </p:nvPr>
        </p:nvSpPr>
        <p:spPr>
          <a:xfrm>
            <a:off x="8800401" y="4200000"/>
            <a:ext cx="2577600" cy="187200"/>
          </a:xfrm>
        </p:spPr>
        <p:txBody>
          <a:bodyPr anchor="ctr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GB" noProof="0"/>
              <a:t>Presenter name</a:t>
            </a:r>
          </a:p>
        </p:txBody>
      </p:sp>
      <p:sp>
        <p:nvSpPr>
          <p:cNvPr id="244" name="Text Placeholder 11">
            <a:extLst>
              <a:ext uri="{FF2B5EF4-FFF2-40B4-BE49-F238E27FC236}">
                <a16:creationId xmlns:a16="http://schemas.microsoft.com/office/drawing/2014/main" id="{FD2CA5C5-73D5-4439-8106-2E28A81726B5}"/>
              </a:ext>
            </a:extLst>
          </p:cNvPr>
          <p:cNvSpPr>
            <a:spLocks noGrp="1"/>
          </p:cNvSpPr>
          <p:nvPr>
            <p:ph type="body" sz="quarter" idx="182" hasCustomPrompt="1"/>
          </p:nvPr>
        </p:nvSpPr>
        <p:spPr>
          <a:xfrm>
            <a:off x="11354000" y="39696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45" name="Text Placeholder 11">
            <a:extLst>
              <a:ext uri="{FF2B5EF4-FFF2-40B4-BE49-F238E27FC236}">
                <a16:creationId xmlns:a16="http://schemas.microsoft.com/office/drawing/2014/main" id="{97D77352-2A3D-4721-AEAE-0F68534DD722}"/>
              </a:ext>
            </a:extLst>
          </p:cNvPr>
          <p:cNvSpPr>
            <a:spLocks noGrp="1"/>
          </p:cNvSpPr>
          <p:nvPr>
            <p:ph type="body" sz="quarter" idx="183" hasCustomPrompt="1"/>
          </p:nvPr>
        </p:nvSpPr>
        <p:spPr>
          <a:xfrm>
            <a:off x="11354000" y="44304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46" name="Text Placeholder 11">
            <a:extLst>
              <a:ext uri="{FF2B5EF4-FFF2-40B4-BE49-F238E27FC236}">
                <a16:creationId xmlns:a16="http://schemas.microsoft.com/office/drawing/2014/main" id="{CEBB0834-0C14-4119-9A7F-3927D11AED7E}"/>
              </a:ext>
            </a:extLst>
          </p:cNvPr>
          <p:cNvSpPr>
            <a:spLocks noGrp="1"/>
          </p:cNvSpPr>
          <p:nvPr>
            <p:ph type="body" sz="quarter" idx="184" hasCustomPrompt="1"/>
          </p:nvPr>
        </p:nvSpPr>
        <p:spPr>
          <a:xfrm>
            <a:off x="11354000" y="4200000"/>
            <a:ext cx="412800" cy="187200"/>
          </a:xfrm>
        </p:spPr>
        <p:txBody>
          <a:bodyPr anchor="t" anchorCtr="0">
            <a:normAutofit/>
          </a:bodyPr>
          <a:lstStyle>
            <a:lvl1pPr algn="r"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47" name="Text Placeholder 11">
            <a:extLst>
              <a:ext uri="{FF2B5EF4-FFF2-40B4-BE49-F238E27FC236}">
                <a16:creationId xmlns:a16="http://schemas.microsoft.com/office/drawing/2014/main" id="{56F332A4-A947-419F-8614-97ACCADA423C}"/>
              </a:ext>
            </a:extLst>
          </p:cNvPr>
          <p:cNvSpPr>
            <a:spLocks noGrp="1"/>
          </p:cNvSpPr>
          <p:nvPr>
            <p:ph type="body" sz="quarter" idx="185" hasCustomPrompt="1"/>
          </p:nvPr>
        </p:nvSpPr>
        <p:spPr>
          <a:xfrm>
            <a:off x="8800401" y="3681600"/>
            <a:ext cx="2529600" cy="278400"/>
          </a:xfrm>
        </p:spPr>
        <p:txBody>
          <a:bodyPr anchor="ctr" anchorCtr="0">
            <a:noAutofit/>
          </a:bodyPr>
          <a:lstStyle>
            <a:lvl1pPr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Subject title</a:t>
            </a:r>
          </a:p>
        </p:txBody>
      </p:sp>
      <p:sp>
        <p:nvSpPr>
          <p:cNvPr id="248" name="Text Placeholder 11">
            <a:extLst>
              <a:ext uri="{FF2B5EF4-FFF2-40B4-BE49-F238E27FC236}">
                <a16:creationId xmlns:a16="http://schemas.microsoft.com/office/drawing/2014/main" id="{F00163B6-759B-47A6-A776-B487957C91FE}"/>
              </a:ext>
            </a:extLst>
          </p:cNvPr>
          <p:cNvSpPr>
            <a:spLocks noGrp="1"/>
          </p:cNvSpPr>
          <p:nvPr>
            <p:ph type="body" sz="quarter" idx="186" hasCustomPrompt="1"/>
          </p:nvPr>
        </p:nvSpPr>
        <p:spPr>
          <a:xfrm>
            <a:off x="11354000" y="3681600"/>
            <a:ext cx="412800" cy="273600"/>
          </a:xfrm>
        </p:spPr>
        <p:txBody>
          <a:bodyPr anchor="t" anchorCtr="0">
            <a:noAutofit/>
          </a:bodyPr>
          <a:lstStyle>
            <a:lvl1pPr algn="r">
              <a:defRPr sz="1867">
                <a:solidFill>
                  <a:srgbClr val="666666"/>
                </a:solidFill>
                <a:latin typeface="+mj-lt"/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4D42BF0D-C62B-4E93-9523-C8E2DD98367C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75" name="Freeform 5">
              <a:extLst>
                <a:ext uri="{FF2B5EF4-FFF2-40B4-BE49-F238E27FC236}">
                  <a16:creationId xmlns:a16="http://schemas.microsoft.com/office/drawing/2014/main" id="{6DB8D7D7-9000-4DFC-8E2B-B25346247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Freeform 6">
              <a:extLst>
                <a:ext uri="{FF2B5EF4-FFF2-40B4-BE49-F238E27FC236}">
                  <a16:creationId xmlns:a16="http://schemas.microsoft.com/office/drawing/2014/main" id="{2D875534-3349-41F0-8262-D3A9FBB445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Freeform 7">
              <a:extLst>
                <a:ext uri="{FF2B5EF4-FFF2-40B4-BE49-F238E27FC236}">
                  <a16:creationId xmlns:a16="http://schemas.microsoft.com/office/drawing/2014/main" id="{849F985C-220C-4BAC-9BDF-BC52E26E24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32462560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Cont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Picture 77" descr="Shape, polygon&#10;&#10;Description automatically generated">
            <a:extLst>
              <a:ext uri="{FF2B5EF4-FFF2-40B4-BE49-F238E27FC236}">
                <a16:creationId xmlns:a16="http://schemas.microsoft.com/office/drawing/2014/main" id="{3F7F0DC0-AC8B-4D47-84B1-02FFD49A80C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058A6D69-BAB1-4B9F-9F1C-0C24500536B0}"/>
              </a:ext>
            </a:extLst>
          </p:cNvPr>
          <p:cNvSpPr/>
          <p:nvPr userDrawn="1"/>
        </p:nvSpPr>
        <p:spPr>
          <a:xfrm>
            <a:off x="2" y="0"/>
            <a:ext cx="3024719" cy="68580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CEC2D5-9A38-4DBB-9ACE-D7D7C4BA362C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4D42BF0D-C62B-4E93-9523-C8E2DD98367C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75" name="Freeform 5">
              <a:extLst>
                <a:ext uri="{FF2B5EF4-FFF2-40B4-BE49-F238E27FC236}">
                  <a16:creationId xmlns:a16="http://schemas.microsoft.com/office/drawing/2014/main" id="{6DB8D7D7-9000-4DFC-8E2B-B25346247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Freeform 6">
              <a:extLst>
                <a:ext uri="{FF2B5EF4-FFF2-40B4-BE49-F238E27FC236}">
                  <a16:creationId xmlns:a16="http://schemas.microsoft.com/office/drawing/2014/main" id="{2D875534-3349-41F0-8262-D3A9FBB4452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7" name="Freeform 7">
              <a:extLst>
                <a:ext uri="{FF2B5EF4-FFF2-40B4-BE49-F238E27FC236}">
                  <a16:creationId xmlns:a16="http://schemas.microsoft.com/office/drawing/2014/main" id="{849F985C-220C-4BAC-9BDF-BC52E26E24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82" name="Text Placeholder 11">
            <a:extLst>
              <a:ext uri="{FF2B5EF4-FFF2-40B4-BE49-F238E27FC236}">
                <a16:creationId xmlns:a16="http://schemas.microsoft.com/office/drawing/2014/main" id="{3355F729-0617-7545-B9ED-DC5C4F6453EB}"/>
              </a:ext>
            </a:extLst>
          </p:cNvPr>
          <p:cNvSpPr>
            <a:spLocks noGrp="1"/>
          </p:cNvSpPr>
          <p:nvPr>
            <p:ph type="body" sz="quarter" idx="131"/>
          </p:nvPr>
        </p:nvSpPr>
        <p:spPr>
          <a:xfrm>
            <a:off x="3648000" y="1315200"/>
            <a:ext cx="8112000" cy="1161600"/>
          </a:xfrm>
        </p:spPr>
        <p:txBody>
          <a:bodyPr anchor="t" anchorCtr="0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Content Placeholder 2">
            <a:extLst>
              <a:ext uri="{FF2B5EF4-FFF2-40B4-BE49-F238E27FC236}">
                <a16:creationId xmlns:a16="http://schemas.microsoft.com/office/drawing/2014/main" id="{FA16169F-9B1E-4C4D-BFEE-17759A621B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48000" y="2572800"/>
            <a:ext cx="8112000" cy="3441600"/>
          </a:xfrm>
        </p:spPr>
        <p:txBody>
          <a:bodyPr anchor="t"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15" name="Picture 14" descr="A picture containing text&#10;&#10;Description automatically generated">
            <a:extLst>
              <a:ext uri="{FF2B5EF4-FFF2-40B4-BE49-F238E27FC236}">
                <a16:creationId xmlns:a16="http://schemas.microsoft.com/office/drawing/2014/main" id="{27E4476D-BCBD-2B47-AD12-EF6AA732BC1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7484" y="315217"/>
            <a:ext cx="2379771" cy="7276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440061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1329576"/>
            <a:ext cx="2380800" cy="1161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95F06A-3427-4B06-BF82-5C0567457A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48000" y="2572800"/>
            <a:ext cx="8112000" cy="3441600"/>
          </a:xfrm>
        </p:spPr>
        <p:txBody>
          <a:bodyPr anchor="t"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E2B424-0D0B-4A45-89C6-3917D01D0C2D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1ECB9FE6-468A-4395-B06E-AAB35682B6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822400"/>
          </a:xfrm>
        </p:spPr>
        <p:txBody>
          <a:bodyPr anchor="t" anchorCtr="0">
            <a:no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FA0F6CE-FAD1-40C2-AE11-F78D23D71B0A}"/>
              </a:ext>
            </a:extLst>
          </p:cNvPr>
          <p:cNvSpPr>
            <a:spLocks noGrp="1"/>
          </p:cNvSpPr>
          <p:nvPr>
            <p:ph type="body" sz="quarter" idx="131"/>
          </p:nvPr>
        </p:nvSpPr>
        <p:spPr>
          <a:xfrm>
            <a:off x="3648000" y="1315200"/>
            <a:ext cx="8112000" cy="1161600"/>
          </a:xfrm>
        </p:spPr>
        <p:txBody>
          <a:bodyPr anchor="t" anchorCtr="0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6548277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hart Placeholder 9">
            <a:extLst>
              <a:ext uri="{FF2B5EF4-FFF2-40B4-BE49-F238E27FC236}">
                <a16:creationId xmlns:a16="http://schemas.microsoft.com/office/drawing/2014/main" id="{30247941-1B8F-4DB8-8745-14214DE043EF}"/>
              </a:ext>
            </a:extLst>
          </p:cNvPr>
          <p:cNvSpPr>
            <a:spLocks noGrp="1"/>
          </p:cNvSpPr>
          <p:nvPr>
            <p:ph type="chart" sz="quarter" idx="36"/>
          </p:nvPr>
        </p:nvSpPr>
        <p:spPr>
          <a:xfrm>
            <a:off x="3648001" y="1329577"/>
            <a:ext cx="8112199" cy="4683875"/>
          </a:xfrm>
        </p:spPr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1329576"/>
            <a:ext cx="2380800" cy="1161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B53CE3-4BA8-4C7A-A2D2-35B8F5DE3F55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4860788F-2A03-494E-8103-991B1DA1839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520944"/>
          </a:xfrm>
        </p:spPr>
        <p:txBody>
          <a:bodyPr anchor="t" anchorCtr="0">
            <a:no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200F77A-3CB7-4DF4-B500-8AFFEBB9316E}"/>
              </a:ext>
            </a:extLst>
          </p:cNvPr>
          <p:cNvSpPr>
            <a:spLocks noGrp="1"/>
          </p:cNvSpPr>
          <p:nvPr>
            <p:ph type="body" sz="quarter" idx="131"/>
          </p:nvPr>
        </p:nvSpPr>
        <p:spPr>
          <a:xfrm>
            <a:off x="3648000" y="288000"/>
            <a:ext cx="8112000" cy="652800"/>
          </a:xfrm>
        </p:spPr>
        <p:txBody>
          <a:bodyPr anchor="t" anchorCtr="0">
            <a:noAutofit/>
          </a:bodyPr>
          <a:lstStyle>
            <a:lvl1pPr>
              <a:defRPr sz="16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 descr="Shape, polygon&#10;&#10;Description automatically generated">
            <a:extLst>
              <a:ext uri="{FF2B5EF4-FFF2-40B4-BE49-F238E27FC236}">
                <a16:creationId xmlns:a16="http://schemas.microsoft.com/office/drawing/2014/main" id="{4E4AB107-D940-BD46-9B60-E651F88D29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  <p:pic>
        <p:nvPicPr>
          <p:cNvPr id="15" name="Picture 14" descr="A picture containing text&#10;&#10;Description automatically generated">
            <a:extLst>
              <a:ext uri="{FF2B5EF4-FFF2-40B4-BE49-F238E27FC236}">
                <a16:creationId xmlns:a16="http://schemas.microsoft.com/office/drawing/2014/main" id="{B917F22D-6C9C-FB4A-9DEA-E397EA3BC63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227" y="5339023"/>
            <a:ext cx="2379771" cy="7276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869471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- Orange">
    <p:bg>
      <p:bgPr>
        <a:solidFill>
          <a:srgbClr val="DB3F1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E3273D-D190-43EA-AB9F-F4E0C3DE2A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600" y="1243200"/>
            <a:ext cx="2404800" cy="2188800"/>
          </a:xfrm>
        </p:spPr>
        <p:txBody>
          <a:bodyPr anchor="ctr" anchorCtr="0">
            <a:noAutofit/>
          </a:bodyPr>
          <a:lstStyle>
            <a:lvl1pPr algn="r">
              <a:defRPr sz="14666">
                <a:solidFill>
                  <a:schemeClr val="bg1"/>
                </a:solidFill>
                <a:latin typeface="RR Pioneer UltraLight Condensed" panose="020B0206030201060103" pitchFamily="34" charset="0"/>
              </a:defRPr>
            </a:lvl1pPr>
          </a:lstStyle>
          <a:p>
            <a:r>
              <a:rPr lang="en-US"/>
              <a:t>XX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AD4DAF-CD34-4819-9611-33C813C52E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28F17CB-29B2-40D9-8E8C-C76332D2E44E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D09A4-D7CF-4D1D-8376-A6317B2D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87183-9305-4CC7-88E3-CD4694340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AABB29-22AC-4C62-A174-9E5A0A1EFA21}"/>
              </a:ext>
            </a:extLst>
          </p:cNvPr>
          <p:cNvSpPr/>
          <p:nvPr userDrawn="1"/>
        </p:nvSpPr>
        <p:spPr>
          <a:xfrm>
            <a:off x="431800" y="1222000"/>
            <a:ext cx="2772493" cy="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>
              <a:latin typeface="RR Pioneer" panose="020B0503050201040103" pitchFamily="34" charset="0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0021B20-6F0E-4481-874A-F21AE9FD3CC4}"/>
              </a:ext>
            </a:extLst>
          </p:cNvPr>
          <p:cNvSpPr/>
          <p:nvPr userDrawn="1"/>
        </p:nvSpPr>
        <p:spPr>
          <a:xfrm>
            <a:off x="4078816" y="1222000"/>
            <a:ext cx="7681384" cy="10160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>
              <a:latin typeface="RR Pioneer" panose="020B0503050201040103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DA88272-0989-4751-9FC4-6BE74AD9E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94400" y="1502401"/>
            <a:ext cx="7665600" cy="1924800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4267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493029B-2588-4CEA-ABCC-2BE98A5BBDD5}"/>
              </a:ext>
            </a:extLst>
          </p:cNvPr>
          <p:cNvGrpSpPr/>
          <p:nvPr userDrawn="1"/>
        </p:nvGrpSpPr>
        <p:grpSpPr>
          <a:xfrm>
            <a:off x="431801" y="311150"/>
            <a:ext cx="428348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E67F5E4-2804-4966-857C-946A21B83440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DD49D93E-F490-4B5A-B482-40E4EF9A1D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45318C03-6571-4131-959E-E4B5D568B2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51358115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1329576"/>
            <a:ext cx="2380800" cy="1161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95F06A-3427-4B06-BF82-5C0567457A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48000" y="1329576"/>
            <a:ext cx="8112000" cy="4684824"/>
          </a:xfrm>
        </p:spPr>
        <p:txBody>
          <a:bodyPr anchor="t"/>
          <a:lstStyle>
            <a:lvl2pPr>
              <a:buClr>
                <a:schemeClr val="tx2"/>
              </a:buClr>
              <a:defRPr/>
            </a:lvl2pPr>
            <a:lvl3pPr>
              <a:buClr>
                <a:schemeClr val="tx2"/>
              </a:buClr>
              <a:defRPr/>
            </a:lvl3pPr>
            <a:lvl4pPr>
              <a:buClr>
                <a:schemeClr val="tx2"/>
              </a:buClr>
              <a:defRPr/>
            </a:lvl4pPr>
            <a:lvl5pPr>
              <a:buClr>
                <a:schemeClr val="tx2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1D4D3-EC6F-4318-9FAC-12458C171F97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239CD9D4-A97C-4319-8DEE-753B525F9CE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822400"/>
          </a:xfrm>
        </p:spPr>
        <p:txBody>
          <a:bodyPr anchor="t" anchorCtr="0">
            <a:no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 descr="Shape, polygon&#10;&#10;Description automatically generated">
            <a:extLst>
              <a:ext uri="{FF2B5EF4-FFF2-40B4-BE49-F238E27FC236}">
                <a16:creationId xmlns:a16="http://schemas.microsoft.com/office/drawing/2014/main" id="{347A99BA-B015-9540-AE4F-F09BDC8CCA5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  <p:pic>
        <p:nvPicPr>
          <p:cNvPr id="12" name="Picture 11" descr="A picture containing text&#10;&#10;Description automatically generated">
            <a:extLst>
              <a:ext uri="{FF2B5EF4-FFF2-40B4-BE49-F238E27FC236}">
                <a16:creationId xmlns:a16="http://schemas.microsoft.com/office/drawing/2014/main" id="{442033D1-DF5C-7449-9502-4040C8511EA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7484" y="315217"/>
            <a:ext cx="2379771" cy="7276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6136722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1329576"/>
            <a:ext cx="2380800" cy="1161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503C72-D5EF-4087-AA3C-2FE3E4137E04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694FCE9F-7CC8-461C-A35B-9B9A4F49161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822400"/>
          </a:xfrm>
        </p:spPr>
        <p:txBody>
          <a:bodyPr anchor="t" anchorCtr="0">
            <a:no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Picture 9" descr="Shape, polygon&#10;&#10;Description automatically generated">
            <a:extLst>
              <a:ext uri="{FF2B5EF4-FFF2-40B4-BE49-F238E27FC236}">
                <a16:creationId xmlns:a16="http://schemas.microsoft.com/office/drawing/2014/main" id="{F621A694-7024-8E44-BE06-23B4454D092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  <p:pic>
        <p:nvPicPr>
          <p:cNvPr id="11" name="Picture 10" descr="A picture containing text&#10;&#10;Description automatically generated">
            <a:extLst>
              <a:ext uri="{FF2B5EF4-FFF2-40B4-BE49-F238E27FC236}">
                <a16:creationId xmlns:a16="http://schemas.microsoft.com/office/drawing/2014/main" id="{7FF12281-D422-FF44-B12C-630CD9503F4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7484" y="315217"/>
            <a:ext cx="2379771" cy="7276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4677236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p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1E28B0C4-8B96-4907-AAD9-1622E0A5F7A0}"/>
              </a:ext>
            </a:extLst>
          </p:cNvPr>
          <p:cNvSpPr/>
          <p:nvPr userDrawn="1"/>
        </p:nvSpPr>
        <p:spPr>
          <a:xfrm>
            <a:off x="3" y="1460502"/>
            <a:ext cx="12192000" cy="53975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RR Pioneer" panose="020B05030502010401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3801" y="315217"/>
            <a:ext cx="7151305" cy="689099"/>
          </a:xfrm>
        </p:spPr>
        <p:txBody>
          <a:bodyPr anchor="ctr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8E79AB-9B8A-4A8C-B35C-D5E5DEC900D5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1B95883-C9F5-4CA1-A372-E3467616D9F3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5B27E8ED-ED99-4AF4-82D0-9AF6F22A14F2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5A6664BB-BF9E-4834-8602-E5D2A1E7D2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55D13E3F-473D-4DA9-AA64-F2A3F87003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12" name="Picture 11" descr="Shape, polygon&#10;&#10;Description automatically generated">
            <a:extLst>
              <a:ext uri="{FF2B5EF4-FFF2-40B4-BE49-F238E27FC236}">
                <a16:creationId xmlns:a16="http://schemas.microsoft.com/office/drawing/2014/main" id="{3DFB5461-4DD4-7B4E-9D12-1060C0E9E41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1457247"/>
            <a:ext cx="5760000" cy="4169855"/>
          </a:xfrm>
          <a:prstGeom prst="rect">
            <a:avLst/>
          </a:prstGeom>
        </p:spPr>
      </p:pic>
      <p:pic>
        <p:nvPicPr>
          <p:cNvPr id="18" name="Picture 17" descr="A picture containing text&#10;&#10;Description automatically generated">
            <a:extLst>
              <a:ext uri="{FF2B5EF4-FFF2-40B4-BE49-F238E27FC236}">
                <a16:creationId xmlns:a16="http://schemas.microsoft.com/office/drawing/2014/main" id="{44EF7B0C-288D-9647-8AB9-85C6AAE08FD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7484" y="315217"/>
            <a:ext cx="2379771" cy="7276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5001202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tic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D159010-F6B7-4456-A111-99866DEB1258}"/>
              </a:ext>
            </a:extLst>
          </p:cNvPr>
          <p:cNvSpPr/>
          <p:nvPr userDrawn="1"/>
        </p:nvSpPr>
        <p:spPr>
          <a:xfrm>
            <a:off x="3" y="2"/>
            <a:ext cx="12192000" cy="53975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RR Pioneer" panose="020B0503050201040103" pitchFamily="34" charset="0"/>
            </a:endParaRPr>
          </a:p>
        </p:txBody>
      </p:sp>
      <p:pic>
        <p:nvPicPr>
          <p:cNvPr id="20" name="Picture 19" descr="Shape, polygon&#10;&#10;Description automatically generated">
            <a:extLst>
              <a:ext uri="{FF2B5EF4-FFF2-40B4-BE49-F238E27FC236}">
                <a16:creationId xmlns:a16="http://schemas.microsoft.com/office/drawing/2014/main" id="{5197BC55-61BF-6C44-8AC6-4304786E9AE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9F6464-C1F4-44A9-B526-E373DE878C13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1323BE95-5F85-499F-ABBC-77935810AD6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3" y="1339200"/>
            <a:ext cx="11328400" cy="37728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Insert diagram</a:t>
            </a:r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08D47E3-3154-48B5-953B-F5E39096AE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2400" y="5721600"/>
            <a:ext cx="5548800" cy="441600"/>
          </a:xfrm>
        </p:spPr>
        <p:txBody>
          <a:bodyPr anchor="ctr" anchorCtr="0">
            <a:normAutofit/>
          </a:bodyPr>
          <a:lstStyle>
            <a:lvl1pPr>
              <a:defRPr sz="2133"/>
            </a:lvl1pPr>
          </a:lstStyle>
          <a:p>
            <a:r>
              <a:rPr lang="en-US"/>
              <a:t>Notices</a:t>
            </a:r>
            <a:endParaRPr lang="en-GB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B4A1EF4-EFD7-4E27-B7D9-FA9B1506376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72801" y="5721600"/>
            <a:ext cx="5592000" cy="441600"/>
          </a:xfrm>
        </p:spPr>
        <p:txBody>
          <a:bodyPr anchor="t" anchorCtr="0"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AB157D5-D157-4A43-B05E-D54FF9686F80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4D4CC742-FC0F-434D-90FD-5D497A1C3E5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B0BE6CB3-AF39-44FD-ADE2-60176DB65EE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4CA628E8-FFED-4FF9-8FE4-D6DDFDB62E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1" name="Picture 20" descr="A picture containing text&#10;&#10;Description automatically generated">
            <a:extLst>
              <a:ext uri="{FF2B5EF4-FFF2-40B4-BE49-F238E27FC236}">
                <a16:creationId xmlns:a16="http://schemas.microsoft.com/office/drawing/2014/main" id="{5D99C7FB-BAE9-DA4D-8083-57CA252A336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7484" y="315217"/>
            <a:ext cx="2379771" cy="7276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3728497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tice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Shape, polygon&#10;&#10;Description automatically generated">
            <a:extLst>
              <a:ext uri="{FF2B5EF4-FFF2-40B4-BE49-F238E27FC236}">
                <a16:creationId xmlns:a16="http://schemas.microsoft.com/office/drawing/2014/main" id="{E33F9766-F9D4-9040-9B6B-3044B2BE301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-14610"/>
            <a:ext cx="5760000" cy="4169855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623D3E-59EC-4645-9735-A06875A6B002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1323BE95-5F85-499F-ABBC-77935810AD6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1803" y="1339200"/>
            <a:ext cx="11328400" cy="3772800"/>
          </a:xfrm>
        </p:spPr>
        <p:txBody>
          <a:bodyPr anchor="ctr"/>
          <a:lstStyle>
            <a:lvl1pPr algn="ctr">
              <a:defRPr/>
            </a:lvl1pPr>
          </a:lstStyle>
          <a:p>
            <a:pPr lvl="0"/>
            <a:r>
              <a:rPr lang="en-US"/>
              <a:t>Insert diagram</a:t>
            </a:r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08D47E3-3154-48B5-953B-F5E39096AE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2400" y="5721600"/>
            <a:ext cx="5548800" cy="441600"/>
          </a:xfrm>
        </p:spPr>
        <p:txBody>
          <a:bodyPr anchor="ctr" anchorCtr="0">
            <a:normAutofit/>
          </a:bodyPr>
          <a:lstStyle>
            <a:lvl1pPr>
              <a:defRPr sz="2133"/>
            </a:lvl1pPr>
          </a:lstStyle>
          <a:p>
            <a:r>
              <a:rPr lang="en-US"/>
              <a:t>Notices</a:t>
            </a:r>
            <a:endParaRPr lang="en-GB"/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B4A1EF4-EFD7-4E27-B7D9-FA9B1506376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72801" y="5721600"/>
            <a:ext cx="5592000" cy="441600"/>
          </a:xfrm>
        </p:spPr>
        <p:txBody>
          <a:bodyPr anchor="t" anchorCtr="0"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Body text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85A9E4F-78F0-4B7A-8412-AE78FDB5010C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E2692AD1-8CD5-47C1-9189-C02951A3354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BDBED46E-8954-4C03-A417-CE6EFE26D1F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3A834507-B43B-4913-8B13-D187E29E8C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1" name="Picture 20" descr="A picture containing text&#10;&#10;Description automatically generated">
            <a:extLst>
              <a:ext uri="{FF2B5EF4-FFF2-40B4-BE49-F238E27FC236}">
                <a16:creationId xmlns:a16="http://schemas.microsoft.com/office/drawing/2014/main" id="{D314F78D-91AD-754B-982C-3F6F886FF29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7484" y="315217"/>
            <a:ext cx="2379771" cy="7276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8384478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mber Bo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Picture 36" descr="Shape, polygon&#10;&#10;Description automatically generated">
            <a:extLst>
              <a:ext uri="{FF2B5EF4-FFF2-40B4-BE49-F238E27FC236}">
                <a16:creationId xmlns:a16="http://schemas.microsoft.com/office/drawing/2014/main" id="{28C49B44-0CD0-5541-A715-602B2FE3FE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1329576"/>
            <a:ext cx="2380800" cy="1161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FE22A2-D48D-4299-B146-D6738BF53E92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1F7C4262-B1E2-4390-9CC0-DC843CB2B1D6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56324" y="1316567"/>
            <a:ext cx="4008000" cy="1512000"/>
          </a:xfrm>
          <a:prstGeom prst="roundRect">
            <a:avLst>
              <a:gd name="adj" fmla="val 4279"/>
            </a:avLst>
          </a:prstGeom>
          <a:solidFill>
            <a:schemeClr val="tx2"/>
          </a:solidFill>
        </p:spPr>
        <p:txBody>
          <a:bodyPr lIns="144000" tIns="144000" rIns="0" bIns="936000">
            <a:noAutofit/>
          </a:bodyPr>
          <a:lstStyle>
            <a:lvl1pPr marL="0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95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88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83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77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97151D7D-50CC-418E-B796-D51754FA7F1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752001" y="1316567"/>
            <a:ext cx="4008000" cy="1512000"/>
          </a:xfrm>
          <a:prstGeom prst="roundRect">
            <a:avLst>
              <a:gd name="adj" fmla="val 4279"/>
            </a:avLst>
          </a:prstGeom>
          <a:solidFill>
            <a:schemeClr val="tx2"/>
          </a:solidFill>
        </p:spPr>
        <p:txBody>
          <a:bodyPr lIns="144000" tIns="144000" rIns="0" bIns="936000">
            <a:noAutofit/>
          </a:bodyPr>
          <a:lstStyle>
            <a:lvl1pPr marL="0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95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88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83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77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0AE63891-8074-4D46-A9D4-BFF017A3AF6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656324" y="2901527"/>
            <a:ext cx="4008000" cy="1512000"/>
          </a:xfrm>
          <a:prstGeom prst="roundRect">
            <a:avLst>
              <a:gd name="adj" fmla="val 4279"/>
            </a:avLst>
          </a:prstGeom>
          <a:solidFill>
            <a:schemeClr val="bg2"/>
          </a:solidFill>
        </p:spPr>
        <p:txBody>
          <a:bodyPr lIns="144000" tIns="144000" rIns="0" bIns="936000">
            <a:noAutofit/>
          </a:bodyPr>
          <a:lstStyle>
            <a:lvl1pPr marL="0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95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88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83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77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71D4C929-2539-4CB6-8559-FC2C66274FB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752200" y="2901527"/>
            <a:ext cx="4008000" cy="1512000"/>
          </a:xfrm>
          <a:prstGeom prst="roundRect">
            <a:avLst>
              <a:gd name="adj" fmla="val 4279"/>
            </a:avLst>
          </a:prstGeom>
          <a:solidFill>
            <a:schemeClr val="bg2"/>
          </a:solidFill>
        </p:spPr>
        <p:txBody>
          <a:bodyPr lIns="144000" tIns="144000" rIns="0" bIns="936000">
            <a:noAutofit/>
          </a:bodyPr>
          <a:lstStyle>
            <a:lvl1pPr marL="0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95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88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83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77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61BC6352-7F9D-4A54-AD55-F7814310EA25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3656324" y="4486487"/>
            <a:ext cx="4008000" cy="1512000"/>
          </a:xfrm>
          <a:prstGeom prst="roundRect">
            <a:avLst>
              <a:gd name="adj" fmla="val 4279"/>
            </a:avLst>
          </a:prstGeom>
          <a:solidFill>
            <a:srgbClr val="4F98FF"/>
          </a:solidFill>
        </p:spPr>
        <p:txBody>
          <a:bodyPr lIns="144000" tIns="144000" rIns="0" bIns="936000">
            <a:noAutofit/>
          </a:bodyPr>
          <a:lstStyle>
            <a:lvl1pPr marL="0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95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88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83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77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CFB911FA-14AD-4D97-88E2-66F2A46DC9C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752200" y="4486487"/>
            <a:ext cx="4008000" cy="1512000"/>
          </a:xfrm>
          <a:prstGeom prst="roundRect">
            <a:avLst>
              <a:gd name="adj" fmla="val 4279"/>
            </a:avLst>
          </a:prstGeom>
          <a:solidFill>
            <a:srgbClr val="4F98FF"/>
          </a:solidFill>
        </p:spPr>
        <p:txBody>
          <a:bodyPr lIns="144000" tIns="144000" rIns="0" bIns="936000">
            <a:noAutofit/>
          </a:bodyPr>
          <a:lstStyle>
            <a:lvl1pPr marL="0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95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88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83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77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5AB56C8-B62B-40FE-A364-F1C128A65C6E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873601" y="2092800"/>
            <a:ext cx="782400" cy="643200"/>
          </a:xfrm>
        </p:spPr>
        <p:txBody>
          <a:bodyPr>
            <a:noAutofit/>
          </a:bodyPr>
          <a:lstStyle>
            <a:lvl1pPr>
              <a:defRPr lang="en-US" sz="4267" kern="1200" dirty="0" smtClean="0">
                <a:solidFill>
                  <a:schemeClr val="bg1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88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XXX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93E1B131-4F77-45CF-A50C-F61E8F159ADB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665601" y="2092800"/>
            <a:ext cx="782400" cy="643200"/>
          </a:xfrm>
        </p:spPr>
        <p:txBody>
          <a:bodyPr anchor="ctr">
            <a:noAutofit/>
          </a:bodyPr>
          <a:lstStyle>
            <a:lvl1pPr>
              <a:defRPr lang="en-US" sz="3200" kern="1200" dirty="0" smtClean="0">
                <a:solidFill>
                  <a:schemeClr val="bg1"/>
                </a:solidFill>
                <a:latin typeface="RR Pioneer UltraLight Condensed" panose="020B020603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88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bn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03A3F461-46BA-46D7-BB45-45025DA17608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977601" y="2092800"/>
            <a:ext cx="782400" cy="643200"/>
          </a:xfrm>
        </p:spPr>
        <p:txBody>
          <a:bodyPr>
            <a:noAutofit/>
          </a:bodyPr>
          <a:lstStyle>
            <a:lvl1pPr>
              <a:defRPr lang="en-US" sz="4267" kern="1200" dirty="0" smtClean="0">
                <a:solidFill>
                  <a:schemeClr val="bg1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88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XXX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6DB0C383-756A-4825-96DB-39AE0E77F024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8788801" y="2092800"/>
            <a:ext cx="782400" cy="643200"/>
          </a:xfrm>
        </p:spPr>
        <p:txBody>
          <a:bodyPr anchor="ctr">
            <a:noAutofit/>
          </a:bodyPr>
          <a:lstStyle>
            <a:lvl1pPr>
              <a:defRPr lang="en-US" sz="3200" kern="1200" dirty="0" smtClean="0">
                <a:solidFill>
                  <a:schemeClr val="bg1"/>
                </a:solidFill>
                <a:latin typeface="RR Pioneer UltraLight Condensed" panose="020B020603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88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bn</a:t>
            </a:r>
          </a:p>
        </p:txBody>
      </p:sp>
      <p:sp>
        <p:nvSpPr>
          <p:cNvPr id="18" name="Text Placeholder 13">
            <a:extLst>
              <a:ext uri="{FF2B5EF4-FFF2-40B4-BE49-F238E27FC236}">
                <a16:creationId xmlns:a16="http://schemas.microsoft.com/office/drawing/2014/main" id="{60E3DA9D-D865-4EFD-BA9A-5F95E8FE142F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977601" y="3686400"/>
            <a:ext cx="782400" cy="643200"/>
          </a:xfrm>
        </p:spPr>
        <p:txBody>
          <a:bodyPr>
            <a:noAutofit/>
          </a:bodyPr>
          <a:lstStyle>
            <a:lvl1pPr>
              <a:defRPr lang="en-US" sz="4267" kern="1200" dirty="0" smtClean="0">
                <a:solidFill>
                  <a:schemeClr val="bg1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88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XXX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2EB4725C-D96C-4AC9-9835-E902E26EC2B6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8788801" y="3686400"/>
            <a:ext cx="782400" cy="643200"/>
          </a:xfrm>
        </p:spPr>
        <p:txBody>
          <a:bodyPr anchor="ctr">
            <a:noAutofit/>
          </a:bodyPr>
          <a:lstStyle>
            <a:lvl1pPr>
              <a:defRPr lang="en-US" sz="3200" kern="1200" dirty="0" smtClean="0">
                <a:solidFill>
                  <a:schemeClr val="bg1"/>
                </a:solidFill>
                <a:latin typeface="RR Pioneer UltraLight Condensed" panose="020B020603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88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bn</a:t>
            </a:r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7568C7F1-EC35-498A-8EB0-646BA8BC1226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873601" y="3686400"/>
            <a:ext cx="782400" cy="643200"/>
          </a:xfrm>
        </p:spPr>
        <p:txBody>
          <a:bodyPr>
            <a:noAutofit/>
          </a:bodyPr>
          <a:lstStyle>
            <a:lvl1pPr>
              <a:defRPr lang="en-US" sz="4267" kern="1200" dirty="0" smtClean="0">
                <a:solidFill>
                  <a:schemeClr val="bg1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88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XXX</a:t>
            </a:r>
          </a:p>
        </p:txBody>
      </p:sp>
      <p:sp>
        <p:nvSpPr>
          <p:cNvPr id="21" name="Text Placeholder 13">
            <a:extLst>
              <a:ext uri="{FF2B5EF4-FFF2-40B4-BE49-F238E27FC236}">
                <a16:creationId xmlns:a16="http://schemas.microsoft.com/office/drawing/2014/main" id="{0B48BA38-004F-4E92-B849-96ACB322FC0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665601" y="3686400"/>
            <a:ext cx="782400" cy="643200"/>
          </a:xfrm>
        </p:spPr>
        <p:txBody>
          <a:bodyPr anchor="ctr">
            <a:noAutofit/>
          </a:bodyPr>
          <a:lstStyle>
            <a:lvl1pPr>
              <a:defRPr lang="en-US" sz="3200" kern="1200" dirty="0" smtClean="0">
                <a:solidFill>
                  <a:schemeClr val="bg1"/>
                </a:solidFill>
                <a:latin typeface="RR Pioneer UltraLight Condensed" panose="020B020603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88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bn</a:t>
            </a:r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A35F4A29-365E-4722-B58C-7EF681A55472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873601" y="5275200"/>
            <a:ext cx="782400" cy="643200"/>
          </a:xfrm>
        </p:spPr>
        <p:txBody>
          <a:bodyPr>
            <a:noAutofit/>
          </a:bodyPr>
          <a:lstStyle>
            <a:lvl1pPr>
              <a:defRPr lang="en-US" sz="4267" kern="1200" dirty="0" smtClean="0">
                <a:solidFill>
                  <a:schemeClr val="bg1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88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XXX</a:t>
            </a:r>
          </a:p>
        </p:txBody>
      </p:sp>
      <p:sp>
        <p:nvSpPr>
          <p:cNvPr id="23" name="Text Placeholder 13">
            <a:extLst>
              <a:ext uri="{FF2B5EF4-FFF2-40B4-BE49-F238E27FC236}">
                <a16:creationId xmlns:a16="http://schemas.microsoft.com/office/drawing/2014/main" id="{2C3F33B7-2E5B-4B6D-B214-C92650DCC4B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4665601" y="5275200"/>
            <a:ext cx="782400" cy="643200"/>
          </a:xfrm>
        </p:spPr>
        <p:txBody>
          <a:bodyPr anchor="ctr">
            <a:noAutofit/>
          </a:bodyPr>
          <a:lstStyle>
            <a:lvl1pPr>
              <a:defRPr lang="en-US" sz="3200" kern="1200" dirty="0" smtClean="0">
                <a:solidFill>
                  <a:schemeClr val="bg1"/>
                </a:solidFill>
                <a:latin typeface="RR Pioneer UltraLight Condensed" panose="020B020603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88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bn</a:t>
            </a:r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B8A8C08C-4631-444D-AE30-8783BEC3F65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977601" y="5275200"/>
            <a:ext cx="782400" cy="643200"/>
          </a:xfrm>
        </p:spPr>
        <p:txBody>
          <a:bodyPr>
            <a:noAutofit/>
          </a:bodyPr>
          <a:lstStyle>
            <a:lvl1pPr algn="r">
              <a:defRPr lang="en-US" sz="4267" kern="1200" dirty="0" smtClean="0">
                <a:solidFill>
                  <a:schemeClr val="bg1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88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XXX</a:t>
            </a:r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820DB816-3EF9-4363-A2B8-60A205764175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788801" y="5275200"/>
            <a:ext cx="782400" cy="643200"/>
          </a:xfrm>
        </p:spPr>
        <p:txBody>
          <a:bodyPr anchor="ctr">
            <a:noAutofit/>
          </a:bodyPr>
          <a:lstStyle>
            <a:lvl1pPr>
              <a:defRPr lang="en-US" sz="3200" kern="1200" dirty="0" smtClean="0">
                <a:solidFill>
                  <a:schemeClr val="bg1"/>
                </a:solidFill>
                <a:latin typeface="RR Pioneer UltraLight Condensed" panose="020B020603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88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bn</a:t>
            </a:r>
          </a:p>
        </p:txBody>
      </p: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FD5CF3FE-2B86-4030-A78C-A64903B282C1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11284800" y="5318400"/>
            <a:ext cx="230400" cy="528000"/>
          </a:xfrm>
        </p:spPr>
        <p:txBody>
          <a:bodyPr anchor="t">
            <a:noAutofit/>
          </a:bodyPr>
          <a:lstStyle>
            <a:lvl1pPr>
              <a:defRPr lang="en-US" sz="1867" kern="1200" dirty="0" smtClean="0">
                <a:solidFill>
                  <a:schemeClr val="bg1"/>
                </a:solidFill>
                <a:latin typeface="RR Pioneer UltraLight Condensed" panose="020B020603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88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%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1963590-F49A-4823-9FEB-EC5B6E12806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854401" y="5275200"/>
            <a:ext cx="1348800" cy="662400"/>
          </a:xfrm>
        </p:spPr>
        <p:txBody>
          <a:bodyPr>
            <a:noAutofit/>
          </a:bodyPr>
          <a:lstStyle>
            <a:lvl1pPr algn="r">
              <a:defRPr lang="en-US" sz="4267" kern="1200" dirty="0" smtClean="0">
                <a:solidFill>
                  <a:schemeClr val="bg1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30" name="Text Placeholder 13">
            <a:extLst>
              <a:ext uri="{FF2B5EF4-FFF2-40B4-BE49-F238E27FC236}">
                <a16:creationId xmlns:a16="http://schemas.microsoft.com/office/drawing/2014/main" id="{AD8F6A02-DD58-48B5-8D82-EA0E3BBC4A72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11284800" y="3820800"/>
            <a:ext cx="230400" cy="528000"/>
          </a:xfrm>
        </p:spPr>
        <p:txBody>
          <a:bodyPr anchor="t">
            <a:noAutofit/>
          </a:bodyPr>
          <a:lstStyle>
            <a:lvl1pPr>
              <a:defRPr lang="en-US" sz="1867" kern="1200" dirty="0" smtClean="0">
                <a:solidFill>
                  <a:schemeClr val="bg1"/>
                </a:solidFill>
                <a:latin typeface="RR Pioneer UltraLight Condensed" panose="020B020603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88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%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7BC33900-880E-4252-9C64-2777488A336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854401" y="3686400"/>
            <a:ext cx="1348800" cy="662400"/>
          </a:xfrm>
        </p:spPr>
        <p:txBody>
          <a:bodyPr>
            <a:noAutofit/>
          </a:bodyPr>
          <a:lstStyle>
            <a:lvl1pPr algn="r">
              <a:defRPr lang="en-US" sz="4267" kern="1200" dirty="0" smtClean="0">
                <a:solidFill>
                  <a:schemeClr val="bg1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FF6C5DA4-D272-41AC-972C-108F6AECF03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11284800" y="2208000"/>
            <a:ext cx="230400" cy="528000"/>
          </a:xfrm>
        </p:spPr>
        <p:txBody>
          <a:bodyPr anchor="t">
            <a:noAutofit/>
          </a:bodyPr>
          <a:lstStyle>
            <a:lvl1pPr>
              <a:defRPr lang="en-US" sz="1867" kern="1200" dirty="0" smtClean="0">
                <a:solidFill>
                  <a:schemeClr val="bg1"/>
                </a:solidFill>
                <a:latin typeface="RR Pioneer UltraLight Condensed" panose="020B0206030201060103" pitchFamily="34" charset="0"/>
                <a:ea typeface="+mn-ea"/>
                <a:cs typeface="+mn-cs"/>
              </a:defRPr>
            </a:lvl1pPr>
          </a:lstStyle>
          <a:p>
            <a:pPr marL="0" lvl="0" indent="0" algn="l" defTabSz="914388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Font typeface="+mj-lt"/>
              <a:buNone/>
            </a:pPr>
            <a:r>
              <a:rPr lang="en-US"/>
              <a:t>%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C4BDB211-379A-466D-9566-314967B29C9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854401" y="2073600"/>
            <a:ext cx="1348800" cy="662400"/>
          </a:xfrm>
        </p:spPr>
        <p:txBody>
          <a:bodyPr>
            <a:noAutofit/>
          </a:bodyPr>
          <a:lstStyle>
            <a:lvl1pPr algn="r">
              <a:defRPr lang="en-US" sz="4267" kern="1200" dirty="0" smtClean="0">
                <a:solidFill>
                  <a:schemeClr val="bg1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XX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57F86536-0705-4118-9182-664D0D31550F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432000" y="2577600"/>
            <a:ext cx="2380800" cy="2822400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35" name="Picture 34" descr="A picture containing text&#10;&#10;Description automatically generated">
            <a:extLst>
              <a:ext uri="{FF2B5EF4-FFF2-40B4-BE49-F238E27FC236}">
                <a16:creationId xmlns:a16="http://schemas.microsoft.com/office/drawing/2014/main" id="{D9F08B19-FE75-DE40-864B-6821BC9C878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7484" y="315217"/>
            <a:ext cx="2379771" cy="7276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0760114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 descr="Shape, polygon&#10;&#10;Description automatically generated">
            <a:extLst>
              <a:ext uri="{FF2B5EF4-FFF2-40B4-BE49-F238E27FC236}">
                <a16:creationId xmlns:a16="http://schemas.microsoft.com/office/drawing/2014/main" id="{DFD80B54-96A9-BB4D-A2FF-CA5FE6546F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14893E9-962D-47ED-A753-018A738F75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1329576"/>
            <a:ext cx="2380800" cy="11616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8CECF3-7A50-49EB-9D3F-070A4AF17FE0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75A85287-135B-486B-86D4-C63323517DFE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3647019" y="1324831"/>
            <a:ext cx="7910495" cy="499784"/>
          </a:xfrm>
          <a:prstGeom prst="roundRect">
            <a:avLst>
              <a:gd name="adj" fmla="val 11563"/>
            </a:avLst>
          </a:prstGeom>
          <a:solidFill>
            <a:srgbClr val="666666"/>
          </a:solidFill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95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88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83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77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1CB650E3-832B-48D1-B8B8-5D4E56D719B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647016" y="2391161"/>
            <a:ext cx="1929600" cy="1468772"/>
          </a:xfrm>
          <a:prstGeom prst="roundRect">
            <a:avLst>
              <a:gd name="adj" fmla="val 4429"/>
            </a:avLst>
          </a:prstGeom>
          <a:solidFill>
            <a:schemeClr val="bg2">
              <a:lumMod val="60000"/>
              <a:lumOff val="40000"/>
            </a:schemeClr>
          </a:solidFill>
        </p:spPr>
        <p:txBody>
          <a:bodyPr lIns="108000" tIns="72000" rIns="0" bIns="0">
            <a:noAutofit/>
          </a:bodyPr>
          <a:lstStyle>
            <a:lvl1pPr marL="0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95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88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83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77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60" name="Text Placeholder 19">
            <a:extLst>
              <a:ext uri="{FF2B5EF4-FFF2-40B4-BE49-F238E27FC236}">
                <a16:creationId xmlns:a16="http://schemas.microsoft.com/office/drawing/2014/main" id="{0FC6D592-E436-4BAE-872B-CDE3F921DE9D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3817111" y="3142963"/>
            <a:ext cx="1557867" cy="543045"/>
          </a:xfrm>
        </p:spPr>
        <p:txBody>
          <a:bodyPr/>
          <a:lstStyle>
            <a:lvl1pPr>
              <a:defRPr sz="1333">
                <a:solidFill>
                  <a:schemeClr val="bg1"/>
                </a:solidFill>
                <a:latin typeface="RR Pioneer" panose="020B0503050201040103" pitchFamily="34" charset="0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85C6D04F-F4B6-4491-AF54-B8E79377571E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5640647" y="2391161"/>
            <a:ext cx="1929600" cy="1468772"/>
          </a:xfrm>
          <a:prstGeom prst="roundRect">
            <a:avLst>
              <a:gd name="adj" fmla="val 4429"/>
            </a:avLst>
          </a:prstGeom>
          <a:solidFill>
            <a:schemeClr val="bg2"/>
          </a:solidFill>
        </p:spPr>
        <p:txBody>
          <a:bodyPr lIns="108000" tIns="72000" rIns="0" bIns="0">
            <a:noAutofit/>
          </a:bodyPr>
          <a:lstStyle>
            <a:lvl1pPr marL="0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95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88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83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77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F4338FBE-09E5-4D0B-917D-6947C2D25282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7634280" y="2391161"/>
            <a:ext cx="1929600" cy="1468772"/>
          </a:xfrm>
          <a:prstGeom prst="roundRect">
            <a:avLst>
              <a:gd name="adj" fmla="val 5121"/>
            </a:avLst>
          </a:prstGeom>
          <a:solidFill>
            <a:schemeClr val="tx2"/>
          </a:solidFill>
        </p:spPr>
        <p:txBody>
          <a:bodyPr lIns="108000" tIns="72000" rIns="0" bIns="0">
            <a:noAutofit/>
          </a:bodyPr>
          <a:lstStyle>
            <a:lvl1pPr marL="0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95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88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83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77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71C44EEB-F195-4E66-938F-E1BEA867F63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627911" y="2391161"/>
            <a:ext cx="1929600" cy="1468772"/>
          </a:xfrm>
          <a:prstGeom prst="roundRect">
            <a:avLst>
              <a:gd name="adj" fmla="val 4429"/>
            </a:avLst>
          </a:prstGeom>
          <a:solidFill>
            <a:schemeClr val="accent5"/>
          </a:solidFill>
        </p:spPr>
        <p:txBody>
          <a:bodyPr lIns="108000" tIns="72000" rIns="0" bIns="0">
            <a:noAutofit/>
          </a:bodyPr>
          <a:lstStyle>
            <a:lvl1pPr marL="0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95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88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83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77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64" name="Text Placeholder 19">
            <a:extLst>
              <a:ext uri="{FF2B5EF4-FFF2-40B4-BE49-F238E27FC236}">
                <a16:creationId xmlns:a16="http://schemas.microsoft.com/office/drawing/2014/main" id="{D76CFD0B-C3F4-4A72-9C00-260BB9F13492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5822145" y="3142963"/>
            <a:ext cx="1557867" cy="543045"/>
          </a:xfrm>
        </p:spPr>
        <p:txBody>
          <a:bodyPr/>
          <a:lstStyle>
            <a:lvl1pPr>
              <a:defRPr sz="1333">
                <a:solidFill>
                  <a:schemeClr val="bg1"/>
                </a:solidFill>
                <a:latin typeface="RR Pioneer" panose="020B0503050201040103" pitchFamily="34" charset="0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65" name="Text Placeholder 19">
            <a:extLst>
              <a:ext uri="{FF2B5EF4-FFF2-40B4-BE49-F238E27FC236}">
                <a16:creationId xmlns:a16="http://schemas.microsoft.com/office/drawing/2014/main" id="{7CDF45B7-CD92-405F-A022-D2134DD260C8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7815624" y="3142963"/>
            <a:ext cx="1557867" cy="543045"/>
          </a:xfrm>
        </p:spPr>
        <p:txBody>
          <a:bodyPr/>
          <a:lstStyle>
            <a:lvl1pPr>
              <a:defRPr sz="1333">
                <a:solidFill>
                  <a:schemeClr val="bg1"/>
                </a:solidFill>
                <a:latin typeface="RR Pioneer" panose="020B0503050201040103" pitchFamily="34" charset="0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66" name="Text Placeholder 19">
            <a:extLst>
              <a:ext uri="{FF2B5EF4-FFF2-40B4-BE49-F238E27FC236}">
                <a16:creationId xmlns:a16="http://schemas.microsoft.com/office/drawing/2014/main" id="{52239209-AA29-4A7E-AECF-CC2095FC3FE5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788080" y="3142963"/>
            <a:ext cx="1557867" cy="543045"/>
          </a:xfrm>
        </p:spPr>
        <p:txBody>
          <a:bodyPr/>
          <a:lstStyle>
            <a:lvl1pPr>
              <a:defRPr sz="1333">
                <a:solidFill>
                  <a:schemeClr val="bg1"/>
                </a:solidFill>
                <a:latin typeface="RR Pioneer" panose="020B0503050201040103" pitchFamily="34" charset="0"/>
              </a:defRPr>
            </a:lvl1pPr>
          </a:lstStyle>
          <a:p>
            <a:pPr lvl="0"/>
            <a:r>
              <a:rPr lang="en-GB" noProof="0"/>
              <a:t>Click to edit Master text styles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7CB8A118-3F5B-4E57-838E-DA33C3E8F4C2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635817" y="5400105"/>
            <a:ext cx="3921600" cy="499784"/>
          </a:xfrm>
          <a:prstGeom prst="roundRect">
            <a:avLst>
              <a:gd name="adj" fmla="val 9530"/>
            </a:avLst>
          </a:prstGeom>
          <a:solidFill>
            <a:schemeClr val="bg2"/>
          </a:solidFill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95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88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83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77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9BD0518C-477E-40F2-845D-9984875E3AA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3647017" y="5400105"/>
            <a:ext cx="3921600" cy="499784"/>
          </a:xfrm>
          <a:prstGeom prst="roundRect">
            <a:avLst>
              <a:gd name="adj" fmla="val 9530"/>
            </a:avLst>
          </a:prstGeom>
          <a:solidFill>
            <a:schemeClr val="tx2"/>
          </a:solidFill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95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88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83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77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69" name="Text Placeholder 4">
            <a:extLst>
              <a:ext uri="{FF2B5EF4-FFF2-40B4-BE49-F238E27FC236}">
                <a16:creationId xmlns:a16="http://schemas.microsoft.com/office/drawing/2014/main" id="{A2ED66F8-5CDB-4DD5-B4B1-3A92BD6C56B1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3647016" y="4693907"/>
            <a:ext cx="7910400" cy="499784"/>
          </a:xfrm>
          <a:prstGeom prst="roundRect">
            <a:avLst>
              <a:gd name="adj" fmla="val 7497"/>
            </a:avLst>
          </a:prstGeom>
          <a:solidFill>
            <a:srgbClr val="404040"/>
          </a:solidFill>
          <a:ln>
            <a:noFill/>
          </a:ln>
        </p:spPr>
        <p:txBody>
          <a:bodyPr lIns="0" tIns="0" rIns="0" bIns="0" anchor="ctr">
            <a:noAutofit/>
          </a:bodyPr>
          <a:lstStyle>
            <a:lvl1pPr marL="0" indent="0" algn="ctr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bg1"/>
                </a:solidFill>
                <a:latin typeface="RR Pioneer Bold" panose="020B0803050201040103" pitchFamily="34" charset="0"/>
                <a:ea typeface="+mj-ea"/>
                <a:cs typeface="Arial" panose="020B0604020202020204" pitchFamily="34" charset="0"/>
              </a:defRPr>
            </a:lvl1pPr>
            <a:lvl2pPr marL="457195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88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83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77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Box titl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57C24875-1F04-4CF6-9DE6-5D37B1D1518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822400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23" name="Picture 22" descr="A picture containing text&#10;&#10;Description automatically generated">
            <a:extLst>
              <a:ext uri="{FF2B5EF4-FFF2-40B4-BE49-F238E27FC236}">
                <a16:creationId xmlns:a16="http://schemas.microsoft.com/office/drawing/2014/main" id="{5E0150E6-D733-5C4E-B412-AD1800EDCA0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7484" y="315217"/>
            <a:ext cx="2379771" cy="7276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4581229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otice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AD159010-F6B7-4456-A111-99866DEB1258}"/>
              </a:ext>
            </a:extLst>
          </p:cNvPr>
          <p:cNvSpPr/>
          <p:nvPr userDrawn="1"/>
        </p:nvSpPr>
        <p:spPr>
          <a:xfrm>
            <a:off x="3" y="2"/>
            <a:ext cx="12192000" cy="53975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latin typeface="RR Pioneer" panose="020B0503050201040103" pitchFamily="34" charset="0"/>
            </a:endParaRPr>
          </a:p>
        </p:txBody>
      </p:sp>
      <p:pic>
        <p:nvPicPr>
          <p:cNvPr id="24" name="Picture 23" descr="Shape, polygon&#10;&#10;Description automatically generated">
            <a:extLst>
              <a:ext uri="{FF2B5EF4-FFF2-40B4-BE49-F238E27FC236}">
                <a16:creationId xmlns:a16="http://schemas.microsoft.com/office/drawing/2014/main" id="{FC16D865-A77C-8A48-91A6-7CD6267E26F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405510C-38D1-4CE9-BD30-D08F610D76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1C4C15-5FAA-4B84-98FC-6C37A1955D7A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8ACA86-A737-4A5C-B09F-3F7C2E1815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9C0F82-AD3B-4A9E-808C-9D4791B362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‹#›</a:t>
            </a:fld>
            <a:endParaRPr lang="en-GB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08D47E3-3154-48B5-953B-F5E39096AE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2400" y="5721600"/>
            <a:ext cx="11337600" cy="408000"/>
          </a:xfrm>
        </p:spPr>
        <p:txBody>
          <a:bodyPr anchor="ctr" anchorCtr="0">
            <a:normAutofit/>
          </a:bodyPr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Notices</a:t>
            </a:r>
            <a:endParaRPr lang="en-GB"/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9163CA43-F39D-47AF-8DC3-665E9255E0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12001" y="1353600"/>
            <a:ext cx="2961600" cy="3489600"/>
          </a:xfrm>
          <a:prstGeom prst="roundRect">
            <a:avLst>
              <a:gd name="adj" fmla="val 4279"/>
            </a:avLst>
          </a:prstGeom>
          <a:solidFill>
            <a:schemeClr val="tx2"/>
          </a:solidFill>
        </p:spPr>
        <p:txBody>
          <a:bodyPr lIns="360000" tIns="288000" rIns="144000" bIns="0">
            <a:noAutofit/>
          </a:bodyPr>
          <a:lstStyle>
            <a:lvl1pPr marL="0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67" kern="1200" smtClean="0">
                <a:solidFill>
                  <a:schemeClr val="bg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1pPr>
            <a:lvl2pPr marL="457195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88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83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77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Notice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47EEE6DB-D188-408B-8F41-84AEE3F4FC4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605603" y="1353600"/>
            <a:ext cx="2961600" cy="3489600"/>
          </a:xfrm>
          <a:prstGeom prst="roundRect">
            <a:avLst>
              <a:gd name="adj" fmla="val 4279"/>
            </a:avLst>
          </a:prstGeom>
          <a:solidFill>
            <a:schemeClr val="bg2"/>
          </a:solidFill>
        </p:spPr>
        <p:txBody>
          <a:bodyPr lIns="360000" tIns="288000" rIns="144000" bIns="0">
            <a:noAutofit/>
          </a:bodyPr>
          <a:lstStyle>
            <a:lvl1pPr marL="0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67" kern="1200" smtClean="0">
                <a:solidFill>
                  <a:schemeClr val="bg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1pPr>
            <a:lvl2pPr marL="457195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88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83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77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Notice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CF30B6C-BC8F-48BE-8430-FE037C07BBE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7699201" y="1353600"/>
            <a:ext cx="2952000" cy="3494400"/>
          </a:xfrm>
          <a:prstGeom prst="roundRect">
            <a:avLst>
              <a:gd name="adj" fmla="val 4279"/>
            </a:avLst>
          </a:prstGeom>
          <a:solidFill>
            <a:srgbClr val="4F98FF"/>
          </a:solidFill>
        </p:spPr>
        <p:txBody>
          <a:bodyPr lIns="360000" tIns="288000" rIns="144000" bIns="0">
            <a:noAutofit/>
          </a:bodyPr>
          <a:lstStyle>
            <a:lvl1pPr marL="0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667" kern="1200" smtClean="0">
                <a:solidFill>
                  <a:schemeClr val="bg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1pPr>
            <a:lvl2pPr marL="457195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2pPr>
            <a:lvl3pPr marL="914388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3pPr>
            <a:lvl4pPr marL="1371583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000" kern="1200" smtClean="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4pPr>
            <a:lvl5pPr marL="1828777" indent="0" algn="l" defTabSz="91438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2000" kern="1200">
                <a:solidFill>
                  <a:schemeClr val="tx1"/>
                </a:solidFill>
                <a:latin typeface="RR Pioneer Medium" panose="020B0603050201040103" pitchFamily="34" charset="0"/>
                <a:ea typeface="+mj-ea"/>
                <a:cs typeface="Arial" panose="020B0604020202020204" pitchFamily="34" charset="0"/>
              </a:defRPr>
            </a:lvl5pPr>
          </a:lstStyle>
          <a:p>
            <a:pPr lvl="0"/>
            <a:r>
              <a:rPr lang="en-GB" noProof="0"/>
              <a:t>Notic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56D6384-C351-4F9B-88F2-671744FB9088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5812647F-26BF-401B-BDB1-2AFB378E0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EA065D88-D1A0-4C3A-BB43-CF9B54DB280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095271E2-B91F-484B-96C7-479D699F67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  <p:pic>
        <p:nvPicPr>
          <p:cNvPr id="25" name="Picture 24" descr="A picture containing text&#10;&#10;Description automatically generated">
            <a:extLst>
              <a:ext uri="{FF2B5EF4-FFF2-40B4-BE49-F238E27FC236}">
                <a16:creationId xmlns:a16="http://schemas.microsoft.com/office/drawing/2014/main" id="{C4220DCC-8678-8640-BD45-C6A03F47FC7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7484" y="315217"/>
            <a:ext cx="2379771" cy="7276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7708861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- Title,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Shape, polygon&#10;&#10;Description automatically generated">
            <a:extLst>
              <a:ext uri="{FF2B5EF4-FFF2-40B4-BE49-F238E27FC236}">
                <a16:creationId xmlns:a16="http://schemas.microsoft.com/office/drawing/2014/main" id="{82EEFFEA-2F69-3340-A881-BD9B18B574E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BBB709E-AB63-4DA3-9B2B-0B6827FC0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7E24CA-5EE6-4B72-A9D9-DAF798B173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01F4172-40E2-4F15-84DE-9DFBC6A74EB7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3115BA-E869-42EF-9DC3-1C66FF357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EC8DD1-4AAC-49E2-A373-1C03C439C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A29DB36-4067-4D81-BA39-80FAF73D6B8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2"/>
            <a:ext cx="2380800" cy="2646127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879B1B0-D2DE-4D5E-914E-DD19078D7A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024000" y="0"/>
            <a:ext cx="2956800" cy="1147200"/>
          </a:xfrm>
          <a:solidFill>
            <a:schemeClr val="tx2"/>
          </a:solidFill>
        </p:spPr>
        <p:txBody>
          <a:bodyPr lIns="144000" rIns="144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of box</a:t>
            </a:r>
          </a:p>
        </p:txBody>
      </p:sp>
      <p:sp>
        <p:nvSpPr>
          <p:cNvPr id="27" name="Text Placeholder 25">
            <a:extLst>
              <a:ext uri="{FF2B5EF4-FFF2-40B4-BE49-F238E27FC236}">
                <a16:creationId xmlns:a16="http://schemas.microsoft.com/office/drawing/2014/main" id="{9DD76131-D74B-45E7-98D0-F53E8B723FA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129600" y="0"/>
            <a:ext cx="2956800" cy="1147200"/>
          </a:xfrm>
          <a:solidFill>
            <a:schemeClr val="bg2"/>
          </a:solidFill>
        </p:spPr>
        <p:txBody>
          <a:bodyPr lIns="144000" rIns="144000" anchor="ctr"/>
          <a:lstStyle>
            <a:lvl1pPr marL="0" marR="0" indent="0" algn="l" defTabSz="91438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of box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36F9053C-C469-402D-8719-36C9166F52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9235200" y="0"/>
            <a:ext cx="2956800" cy="1147200"/>
          </a:xfrm>
          <a:solidFill>
            <a:srgbClr val="4F98FF"/>
          </a:solidFill>
        </p:spPr>
        <p:txBody>
          <a:bodyPr lIns="144000" rIns="144000" anchor="ctr">
            <a:normAutofit/>
          </a:bodyPr>
          <a:lstStyle>
            <a:lvl1pPr>
              <a:defRPr lang="en-US" sz="1867" b="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marR="0" lvl="0" indent="0" algn="l" defTabSz="914388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</a:pPr>
            <a:r>
              <a:rPr lang="en-US"/>
              <a:t>Title of box</a:t>
            </a:r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C9603618-8BAB-4FD9-8D88-D4EF68F5A465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3024720" y="1166400"/>
            <a:ext cx="2952000" cy="1920000"/>
          </a:xfrm>
          <a:solidFill>
            <a:srgbClr val="8A8A8F"/>
          </a:solidFill>
        </p:spPr>
        <p:txBody>
          <a:bodyPr lIns="144000" tIns="108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2" name="Picture Placeholder 29">
            <a:extLst>
              <a:ext uri="{FF2B5EF4-FFF2-40B4-BE49-F238E27FC236}">
                <a16:creationId xmlns:a16="http://schemas.microsoft.com/office/drawing/2014/main" id="{9F2732AD-76E6-41B8-8EFC-B986FE432FCE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6134401" y="1166400"/>
            <a:ext cx="2952000" cy="1920000"/>
          </a:xfrm>
          <a:solidFill>
            <a:srgbClr val="8A8A8F"/>
          </a:solidFill>
        </p:spPr>
        <p:txBody>
          <a:bodyPr lIns="144000" tIns="108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3" name="Picture Placeholder 29">
            <a:extLst>
              <a:ext uri="{FF2B5EF4-FFF2-40B4-BE49-F238E27FC236}">
                <a16:creationId xmlns:a16="http://schemas.microsoft.com/office/drawing/2014/main" id="{15CE6D4E-BCF7-43D0-8ADD-1BE02864002F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9240001" y="1166400"/>
            <a:ext cx="2952000" cy="1920000"/>
          </a:xfrm>
          <a:solidFill>
            <a:srgbClr val="8A8A8F"/>
          </a:solidFill>
        </p:spPr>
        <p:txBody>
          <a:bodyPr lIns="144000" tIns="108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4" name="Text Placeholder 25">
            <a:extLst>
              <a:ext uri="{FF2B5EF4-FFF2-40B4-BE49-F238E27FC236}">
                <a16:creationId xmlns:a16="http://schemas.microsoft.com/office/drawing/2014/main" id="{9B50BC3E-4183-42C9-A6B3-7CE2F9E752F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3024719" y="3105600"/>
            <a:ext cx="2956800" cy="3752400"/>
          </a:xfrm>
          <a:solidFill>
            <a:srgbClr val="666666"/>
          </a:solidFill>
        </p:spPr>
        <p:txBody>
          <a:bodyPr lIns="144000" tIns="144000" rIns="144000" anchor="t">
            <a:normAutofit/>
          </a:bodyPr>
          <a:lstStyle>
            <a:lvl1pPr>
              <a:defRPr lang="en-US" sz="1867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38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itle of box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E96532E0-0B2B-49D1-B4F4-B96883651DCE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129600" y="3105600"/>
            <a:ext cx="2956800" cy="3752400"/>
          </a:xfrm>
          <a:solidFill>
            <a:srgbClr val="666666"/>
          </a:solidFill>
        </p:spPr>
        <p:txBody>
          <a:bodyPr lIns="144000" tIns="144000" rIns="144000" anchor="t">
            <a:normAutofit/>
          </a:bodyPr>
          <a:lstStyle>
            <a:lvl1pPr>
              <a:defRPr lang="en-US" sz="1867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38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itle of box</a:t>
            </a:r>
          </a:p>
        </p:txBody>
      </p:sp>
      <p:sp>
        <p:nvSpPr>
          <p:cNvPr id="36" name="Text Placeholder 25">
            <a:extLst>
              <a:ext uri="{FF2B5EF4-FFF2-40B4-BE49-F238E27FC236}">
                <a16:creationId xmlns:a16="http://schemas.microsoft.com/office/drawing/2014/main" id="{066E0B23-5E8A-4EFC-AF77-9D113991B22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235200" y="3105600"/>
            <a:ext cx="2956800" cy="3752400"/>
          </a:xfrm>
          <a:solidFill>
            <a:srgbClr val="666666"/>
          </a:solidFill>
        </p:spPr>
        <p:txBody>
          <a:bodyPr lIns="144000" tIns="144000" rIns="144000" anchor="t">
            <a:normAutofit/>
          </a:bodyPr>
          <a:lstStyle>
            <a:lvl1pPr>
              <a:defRPr lang="en-US" sz="1867" kern="1200" dirty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914388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/>
              <a:t>Title of box</a:t>
            </a:r>
          </a:p>
        </p:txBody>
      </p:sp>
      <p:pic>
        <p:nvPicPr>
          <p:cNvPr id="18" name="Picture 17" descr="A picture containing text&#10;&#10;Description automatically generated">
            <a:extLst>
              <a:ext uri="{FF2B5EF4-FFF2-40B4-BE49-F238E27FC236}">
                <a16:creationId xmlns:a16="http://schemas.microsoft.com/office/drawing/2014/main" id="{53943DD3-251D-9547-8498-83EA43324CF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53" y="5328861"/>
            <a:ext cx="2379771" cy="7276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0584351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ox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Shape, polygon&#10;&#10;Description automatically generated">
            <a:extLst>
              <a:ext uri="{FF2B5EF4-FFF2-40B4-BE49-F238E27FC236}">
                <a16:creationId xmlns:a16="http://schemas.microsoft.com/office/drawing/2014/main" id="{513449DC-00D3-0946-9C8B-8E7C8488DD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000" y="2"/>
            <a:ext cx="5760000" cy="416985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BBB709E-AB63-4DA3-9B2B-0B6827FC0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3115BA-E869-42EF-9DC3-1C66FF357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EC8DD1-4AAC-49E2-A373-1C03C439C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A29DB36-4067-4D81-BA39-80FAF73D6B8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2"/>
            <a:ext cx="2380800" cy="2656039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879B1B0-D2DE-4D5E-914E-DD19078D7A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648000" y="1315200"/>
            <a:ext cx="3964800" cy="638400"/>
          </a:xfrm>
          <a:solidFill>
            <a:schemeClr val="bg2"/>
          </a:solidFill>
        </p:spPr>
        <p:txBody>
          <a:bodyPr lIns="144000" rIns="144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of box</a:t>
            </a:r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C9603618-8BAB-4FD9-8D88-D4EF68F5A465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3648000" y="1953600"/>
            <a:ext cx="3964800" cy="1296000"/>
          </a:xfrm>
          <a:solidFill>
            <a:srgbClr val="8A8A8F"/>
          </a:solidFill>
        </p:spPr>
        <p:txBody>
          <a:bodyPr lIns="144000" tIns="108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99806E2A-D267-4620-A076-EE247F49355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648000" y="3456000"/>
            <a:ext cx="3964800" cy="638400"/>
          </a:xfrm>
          <a:solidFill>
            <a:schemeClr val="tx2"/>
          </a:solidFill>
        </p:spPr>
        <p:txBody>
          <a:bodyPr lIns="144000" rIns="144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of box</a:t>
            </a:r>
          </a:p>
        </p:txBody>
      </p:sp>
      <p:sp>
        <p:nvSpPr>
          <p:cNvPr id="17" name="Picture Placeholder 29">
            <a:extLst>
              <a:ext uri="{FF2B5EF4-FFF2-40B4-BE49-F238E27FC236}">
                <a16:creationId xmlns:a16="http://schemas.microsoft.com/office/drawing/2014/main" id="{7A599AFC-DF66-4C53-9C93-44EC77358A09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3648000" y="4084800"/>
            <a:ext cx="3964800" cy="1296000"/>
          </a:xfrm>
          <a:solidFill>
            <a:srgbClr val="8A8A8F"/>
          </a:solidFill>
        </p:spPr>
        <p:txBody>
          <a:bodyPr lIns="144000" tIns="108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Text Placeholder 25">
            <a:extLst>
              <a:ext uri="{FF2B5EF4-FFF2-40B4-BE49-F238E27FC236}">
                <a16:creationId xmlns:a16="http://schemas.microsoft.com/office/drawing/2014/main" id="{A1D692BB-3BB5-41E9-8F5F-5947B1A2E6E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783749" y="1315200"/>
            <a:ext cx="1900800" cy="638400"/>
          </a:xfrm>
          <a:solidFill>
            <a:schemeClr val="tx2"/>
          </a:solidFill>
        </p:spPr>
        <p:txBody>
          <a:bodyPr lIns="144000" rIns="144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of box</a:t>
            </a:r>
          </a:p>
        </p:txBody>
      </p:sp>
      <p:sp>
        <p:nvSpPr>
          <p:cNvPr id="19" name="Picture Placeholder 29">
            <a:extLst>
              <a:ext uri="{FF2B5EF4-FFF2-40B4-BE49-F238E27FC236}">
                <a16:creationId xmlns:a16="http://schemas.microsoft.com/office/drawing/2014/main" id="{BF4A2E49-1651-4469-BB42-DC7EB48002DB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7785600" y="1953600"/>
            <a:ext cx="1900800" cy="3427200"/>
          </a:xfrm>
          <a:solidFill>
            <a:srgbClr val="8A8A8F"/>
          </a:solidFill>
        </p:spPr>
        <p:txBody>
          <a:bodyPr lIns="144000" tIns="108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0" name="Text Placeholder 25">
            <a:extLst>
              <a:ext uri="{FF2B5EF4-FFF2-40B4-BE49-F238E27FC236}">
                <a16:creationId xmlns:a16="http://schemas.microsoft.com/office/drawing/2014/main" id="{111FD45B-4DD1-4E16-86F5-D1F83BDC2AAF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9855500" y="1315200"/>
            <a:ext cx="1900800" cy="638400"/>
          </a:xfrm>
          <a:solidFill>
            <a:schemeClr val="bg2"/>
          </a:solidFill>
          <a:ln>
            <a:noFill/>
          </a:ln>
        </p:spPr>
        <p:txBody>
          <a:bodyPr lIns="144000" rIns="144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of box</a:t>
            </a:r>
          </a:p>
        </p:txBody>
      </p:sp>
      <p:sp>
        <p:nvSpPr>
          <p:cNvPr id="21" name="Picture Placeholder 29">
            <a:extLst>
              <a:ext uri="{FF2B5EF4-FFF2-40B4-BE49-F238E27FC236}">
                <a16:creationId xmlns:a16="http://schemas.microsoft.com/office/drawing/2014/main" id="{37F1311B-DA96-4EA3-A646-EF2F39885CC4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9855500" y="1953600"/>
            <a:ext cx="1900800" cy="3427200"/>
          </a:xfrm>
          <a:solidFill>
            <a:srgbClr val="8A8A8F"/>
          </a:solidFill>
        </p:spPr>
        <p:txBody>
          <a:bodyPr lIns="144000" tIns="108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30D17560-F5B5-43D2-A202-21304922633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1000936" y="6307200"/>
            <a:ext cx="759064" cy="365125"/>
          </a:xfrm>
        </p:spPr>
        <p:txBody>
          <a:bodyPr/>
          <a:lstStyle/>
          <a:p>
            <a:fld id="{BF37C5B3-7A99-4327-B58B-9A12F9DD4F78}" type="datetime1">
              <a:rPr lang="en-GB" smtClean="0"/>
              <a:t>23/03/2023</a:t>
            </a:fld>
            <a:endParaRPr lang="en-GB"/>
          </a:p>
        </p:txBody>
      </p:sp>
      <p:pic>
        <p:nvPicPr>
          <p:cNvPr id="25" name="Picture 24" descr="A picture containing text&#10;&#10;Description automatically generated">
            <a:extLst>
              <a:ext uri="{FF2B5EF4-FFF2-40B4-BE49-F238E27FC236}">
                <a16:creationId xmlns:a16="http://schemas.microsoft.com/office/drawing/2014/main" id="{E73070B9-BA68-2446-B502-9A2E48DE58E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7484" y="315217"/>
            <a:ext cx="2379771" cy="7276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170361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- Magenta">
    <p:bg>
      <p:bgPr>
        <a:solidFill>
          <a:srgbClr val="E21D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E3273D-D190-43EA-AB9F-F4E0C3DE2A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1600" y="1243200"/>
            <a:ext cx="2404800" cy="2188800"/>
          </a:xfrm>
        </p:spPr>
        <p:txBody>
          <a:bodyPr anchor="ctr" anchorCtr="0">
            <a:noAutofit/>
          </a:bodyPr>
          <a:lstStyle>
            <a:lvl1pPr algn="r">
              <a:defRPr sz="14666">
                <a:solidFill>
                  <a:schemeClr val="bg1"/>
                </a:solidFill>
                <a:latin typeface="RR Pioneer UltraLight Condensed" panose="020B0206030201060103" pitchFamily="34" charset="0"/>
              </a:defRPr>
            </a:lvl1pPr>
          </a:lstStyle>
          <a:p>
            <a:r>
              <a:rPr lang="en-US"/>
              <a:t>XX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AD4DAF-CD34-4819-9611-33C813C52E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FC5BB1F-7066-45C1-A2E0-984FDDDD5D01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9D09A4-D7CF-4D1D-8376-A6317B2D79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787183-9305-4CC7-88E3-CD4694340E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E2AABB29-22AC-4C62-A174-9E5A0A1EFA21}"/>
              </a:ext>
            </a:extLst>
          </p:cNvPr>
          <p:cNvSpPr/>
          <p:nvPr userDrawn="1"/>
        </p:nvSpPr>
        <p:spPr>
          <a:xfrm>
            <a:off x="431800" y="1222000"/>
            <a:ext cx="2772493" cy="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>
              <a:latin typeface="RR Pioneer" panose="020B0503050201040103" pitchFamily="34" charset="0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0021B20-6F0E-4481-874A-F21AE9FD3CC4}"/>
              </a:ext>
            </a:extLst>
          </p:cNvPr>
          <p:cNvSpPr/>
          <p:nvPr userDrawn="1"/>
        </p:nvSpPr>
        <p:spPr>
          <a:xfrm>
            <a:off x="4078816" y="1222000"/>
            <a:ext cx="7681384" cy="101600"/>
          </a:xfrm>
          <a:custGeom>
            <a:avLst/>
            <a:gdLst>
              <a:gd name="connsiteX0" fmla="*/ 0 w 1973580"/>
              <a:gd name="connsiteY0" fmla="*/ 0 h 0"/>
              <a:gd name="connsiteX1" fmla="*/ 1973580 w 197358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73580">
                <a:moveTo>
                  <a:pt x="0" y="0"/>
                </a:moveTo>
                <a:lnTo>
                  <a:pt x="1973580" y="0"/>
                </a:lnTo>
              </a:path>
            </a:pathLst>
          </a:cu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noProof="0">
              <a:latin typeface="RR Pioneer" panose="020B0503050201040103" pitchFamily="34" charset="0"/>
            </a:endParaRP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DA88272-0989-4751-9FC4-6BE74AD9E30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94400" y="1502401"/>
            <a:ext cx="7665600" cy="1924800"/>
          </a:xfrm>
        </p:spPr>
        <p:txBody>
          <a:bodyPr/>
          <a:lstStyle>
            <a:lvl1pPr>
              <a:spcBef>
                <a:spcPts val="0"/>
              </a:spcBef>
              <a:spcAft>
                <a:spcPts val="1600"/>
              </a:spcAft>
              <a:defRPr sz="4267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2133">
                <a:solidFill>
                  <a:schemeClr val="bg1"/>
                </a:solidFill>
              </a:defRPr>
            </a:lvl2pPr>
            <a:lvl3pPr marL="249760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8B343DE-22CB-4D21-8630-B226C0AFAC6D}"/>
              </a:ext>
            </a:extLst>
          </p:cNvPr>
          <p:cNvGrpSpPr/>
          <p:nvPr userDrawn="1"/>
        </p:nvGrpSpPr>
        <p:grpSpPr>
          <a:xfrm>
            <a:off x="431801" y="311150"/>
            <a:ext cx="428348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7A16F4D5-A7E8-478C-A587-9E92D23F832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B1B6ACAA-B146-42CF-8794-88C4A5CC1D3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39B5C130-9FD9-4E0A-8940-BA007F82513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69508456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id Layout- Image &amp;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C9603618-8BAB-4FD9-8D88-D4EF68F5A465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3024001" y="0"/>
            <a:ext cx="4584000" cy="6859200"/>
          </a:xfrm>
          <a:solidFill>
            <a:srgbClr val="8A8A8F"/>
          </a:solidFill>
        </p:spPr>
        <p:txBody>
          <a:bodyPr lIns="144000" tIns="36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BB709E-AB63-4DA3-9B2B-0B6827FC0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3115BA-E869-42EF-9DC3-1C66FF357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EC8DD1-4AAC-49E2-A373-1C03C439C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A29DB36-4067-4D81-BA39-80FAF73D6B8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2"/>
            <a:ext cx="2380800" cy="2646127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9879B1B0-D2DE-4D5E-914E-DD19078D7A9B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08001" y="0"/>
            <a:ext cx="4584000" cy="3451200"/>
          </a:xfrm>
          <a:solidFill>
            <a:schemeClr val="bg1"/>
          </a:solidFill>
        </p:spPr>
        <p:txBody>
          <a:bodyPr lIns="144000" rIns="144000" anchor="ctr"/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Title of box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99806E2A-D267-4620-A076-EE247F49355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7608001" y="3412800"/>
            <a:ext cx="4584000" cy="3446400"/>
          </a:xfrm>
          <a:solidFill>
            <a:schemeClr val="bg2"/>
          </a:solidFill>
        </p:spPr>
        <p:txBody>
          <a:bodyPr lIns="144000" rIns="144000" anchor="ctr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itle of box</a:t>
            </a:r>
          </a:p>
        </p:txBody>
      </p:sp>
      <p:pic>
        <p:nvPicPr>
          <p:cNvPr id="9" name="Picture 8" descr="A picture containing text&#10;&#10;Description automatically generated">
            <a:extLst>
              <a:ext uri="{FF2B5EF4-FFF2-40B4-BE49-F238E27FC236}">
                <a16:creationId xmlns:a16="http://schemas.microsoft.com/office/drawing/2014/main" id="{534BC676-7048-614B-B44F-72113B8CB53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53" y="5328861"/>
            <a:ext cx="2379771" cy="7276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5583061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C9603618-8BAB-4FD9-8D88-D4EF68F5A465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3024000" y="0"/>
            <a:ext cx="6201600" cy="6859200"/>
          </a:xfrm>
          <a:solidFill>
            <a:srgbClr val="8A8A8F"/>
          </a:solidFill>
        </p:spPr>
        <p:txBody>
          <a:bodyPr lIns="144000" tIns="360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BB709E-AB63-4DA3-9B2B-0B6827FC0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3115BA-E869-42EF-9DC3-1C66FF357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EC8DD1-4AAC-49E2-A373-1C03C439C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A29DB36-4067-4D81-BA39-80FAF73D6B8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675864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99806E2A-D267-4620-A076-EE247F49355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235200" y="-1200"/>
            <a:ext cx="2956800" cy="6859200"/>
          </a:xfrm>
          <a:solidFill>
            <a:schemeClr val="tx2"/>
          </a:solidFill>
        </p:spPr>
        <p:txBody>
          <a:bodyPr lIns="144000" tIns="360000" rIns="144000" anchor="t" anchorCtr="0"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8" name="Picture 7" descr="A picture containing text&#10;&#10;Description automatically generated">
            <a:extLst>
              <a:ext uri="{FF2B5EF4-FFF2-40B4-BE49-F238E27FC236}">
                <a16:creationId xmlns:a16="http://schemas.microsoft.com/office/drawing/2014/main" id="{4DD14314-01F7-5147-92A3-82B061E58D2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53" y="5328861"/>
            <a:ext cx="2379771" cy="72769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190053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Row- Text &amp; In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C9603618-8BAB-4FD9-8D88-D4EF68F5A465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5990400" y="0"/>
            <a:ext cx="6201600" cy="2184000"/>
          </a:xfrm>
          <a:solidFill>
            <a:srgbClr val="8A8A8F"/>
          </a:solidFill>
        </p:spPr>
        <p:txBody>
          <a:bodyPr lIns="36000" tIns="36000" rIns="36000" bIns="36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BB709E-AB63-4DA3-9B2B-0B6827FC0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3115BA-E869-42EF-9DC3-1C66FF357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EC8DD1-4AAC-49E2-A373-1C03C439C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A29DB36-4067-4D81-BA39-80FAF73D6B8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705600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25">
            <a:extLst>
              <a:ext uri="{FF2B5EF4-FFF2-40B4-BE49-F238E27FC236}">
                <a16:creationId xmlns:a16="http://schemas.microsoft.com/office/drawing/2014/main" id="{99806E2A-D267-4620-A076-EE247F49355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024000" y="0"/>
            <a:ext cx="2956800" cy="2184000"/>
          </a:xfrm>
          <a:solidFill>
            <a:schemeClr val="tx2"/>
          </a:solidFill>
        </p:spPr>
        <p:txBody>
          <a:bodyPr lIns="36000" tIns="36000" rIns="36000" bIns="36000" anchor="ctr" anchorCtr="0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8" name="Picture Placeholder 29">
            <a:extLst>
              <a:ext uri="{FF2B5EF4-FFF2-40B4-BE49-F238E27FC236}">
                <a16:creationId xmlns:a16="http://schemas.microsoft.com/office/drawing/2014/main" id="{EBFA5408-0C90-41B1-8C93-068EB8F13486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5990400" y="4674000"/>
            <a:ext cx="6201600" cy="2184000"/>
          </a:xfrm>
          <a:solidFill>
            <a:srgbClr val="8A8A8F"/>
          </a:solidFill>
        </p:spPr>
        <p:txBody>
          <a:bodyPr lIns="36000" tIns="36000" rIns="36000" bIns="36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Picture Placeholder 29">
            <a:extLst>
              <a:ext uri="{FF2B5EF4-FFF2-40B4-BE49-F238E27FC236}">
                <a16:creationId xmlns:a16="http://schemas.microsoft.com/office/drawing/2014/main" id="{5CDE14EA-7326-4CE3-9E7E-B11F9CF77871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3024000" y="2337000"/>
            <a:ext cx="6201600" cy="2184000"/>
          </a:xfrm>
          <a:solidFill>
            <a:srgbClr val="8A8A8F"/>
          </a:solidFill>
        </p:spPr>
        <p:txBody>
          <a:bodyPr lIns="36000" tIns="36000" rIns="36000" bIns="36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ext Placeholder 25">
            <a:extLst>
              <a:ext uri="{FF2B5EF4-FFF2-40B4-BE49-F238E27FC236}">
                <a16:creationId xmlns:a16="http://schemas.microsoft.com/office/drawing/2014/main" id="{25567A47-CB76-4E8E-862C-578E7552B23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235200" y="2337000"/>
            <a:ext cx="2956800" cy="2184000"/>
          </a:xfrm>
          <a:solidFill>
            <a:schemeClr val="bg2"/>
          </a:solidFill>
        </p:spPr>
        <p:txBody>
          <a:bodyPr lIns="36000" tIns="36000" rIns="36000" bIns="36000" anchor="ctr" anchorCtr="0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1" name="Text Placeholder 25">
            <a:extLst>
              <a:ext uri="{FF2B5EF4-FFF2-40B4-BE49-F238E27FC236}">
                <a16:creationId xmlns:a16="http://schemas.microsoft.com/office/drawing/2014/main" id="{F8E17EF7-6508-4CB6-AA2C-02283862D7C5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3024000" y="4674000"/>
            <a:ext cx="2956800" cy="2184000"/>
          </a:xfrm>
          <a:solidFill>
            <a:schemeClr val="tx2"/>
          </a:solidFill>
        </p:spPr>
        <p:txBody>
          <a:bodyPr lIns="36000" tIns="36000" rIns="36000" bIns="36000" anchor="ctr" anchorCtr="0"/>
          <a:lstStyle>
            <a:lvl1pPr algn="ctr"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29077E4-7A9A-45A1-912B-C118C7291919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AD311FFA-88BC-4B6D-87B5-B2ED8FE1E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1B824F8B-9AA9-4041-A875-9BCD0EA89D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617F150E-0C68-4BAA-8641-26D02112D00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28081391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- Imag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B64E928E-4B49-4612-90CF-70E01806213D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0" y="0"/>
            <a:ext cx="3984000" cy="3825600"/>
          </a:xfrm>
          <a:custGeom>
            <a:avLst/>
            <a:gdLst>
              <a:gd name="connsiteX0" fmla="*/ 362108 w 2988000"/>
              <a:gd name="connsiteY0" fmla="*/ 236413 h 2869200"/>
              <a:gd name="connsiteX1" fmla="*/ 326596 w 2988000"/>
              <a:gd name="connsiteY1" fmla="*/ 272310 h 2869200"/>
              <a:gd name="connsiteX2" fmla="*/ 326596 w 2988000"/>
              <a:gd name="connsiteY2" fmla="*/ 717340 h 2869200"/>
              <a:gd name="connsiteX3" fmla="*/ 362108 w 2988000"/>
              <a:gd name="connsiteY3" fmla="*/ 753237 h 2869200"/>
              <a:gd name="connsiteX4" fmla="*/ 607464 w 2988000"/>
              <a:gd name="connsiteY4" fmla="*/ 753237 h 2869200"/>
              <a:gd name="connsiteX5" fmla="*/ 642976 w 2988000"/>
              <a:gd name="connsiteY5" fmla="*/ 717340 h 2869200"/>
              <a:gd name="connsiteX6" fmla="*/ 642976 w 2988000"/>
              <a:gd name="connsiteY6" fmla="*/ 272310 h 2869200"/>
              <a:gd name="connsiteX7" fmla="*/ 607464 w 2988000"/>
              <a:gd name="connsiteY7" fmla="*/ 236413 h 2869200"/>
              <a:gd name="connsiteX8" fmla="*/ 362108 w 2988000"/>
              <a:gd name="connsiteY8" fmla="*/ 236413 h 2869200"/>
              <a:gd name="connsiteX9" fmla="*/ 0 w 2988000"/>
              <a:gd name="connsiteY9" fmla="*/ 0 h 2869200"/>
              <a:gd name="connsiteX10" fmla="*/ 2988000 w 2988000"/>
              <a:gd name="connsiteY10" fmla="*/ 0 h 2869200"/>
              <a:gd name="connsiteX11" fmla="*/ 2988000 w 2988000"/>
              <a:gd name="connsiteY11" fmla="*/ 2869200 h 2869200"/>
              <a:gd name="connsiteX12" fmla="*/ 0 w 2988000"/>
              <a:gd name="connsiteY12" fmla="*/ 2869200 h 286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988000" h="2869200">
                <a:moveTo>
                  <a:pt x="362108" y="236413"/>
                </a:moveTo>
                <a:cubicBezTo>
                  <a:pt x="342277" y="236413"/>
                  <a:pt x="326596" y="252521"/>
                  <a:pt x="326596" y="272310"/>
                </a:cubicBezTo>
                <a:lnTo>
                  <a:pt x="326596" y="717340"/>
                </a:lnTo>
                <a:cubicBezTo>
                  <a:pt x="326596" y="737129"/>
                  <a:pt x="342277" y="753237"/>
                  <a:pt x="362108" y="753237"/>
                </a:cubicBezTo>
                <a:cubicBezTo>
                  <a:pt x="362108" y="753237"/>
                  <a:pt x="362108" y="753237"/>
                  <a:pt x="607464" y="753237"/>
                </a:cubicBezTo>
                <a:cubicBezTo>
                  <a:pt x="626834" y="753237"/>
                  <a:pt x="642976" y="737129"/>
                  <a:pt x="642976" y="717340"/>
                </a:cubicBezTo>
                <a:cubicBezTo>
                  <a:pt x="642976" y="717340"/>
                  <a:pt x="642976" y="717340"/>
                  <a:pt x="642976" y="272310"/>
                </a:cubicBezTo>
                <a:cubicBezTo>
                  <a:pt x="642976" y="252521"/>
                  <a:pt x="626834" y="236413"/>
                  <a:pt x="607464" y="236413"/>
                </a:cubicBezTo>
                <a:cubicBezTo>
                  <a:pt x="607464" y="236413"/>
                  <a:pt x="607464" y="236413"/>
                  <a:pt x="362108" y="236413"/>
                </a:cubicBezTo>
                <a:close/>
                <a:moveTo>
                  <a:pt x="0" y="0"/>
                </a:moveTo>
                <a:lnTo>
                  <a:pt x="2988000" y="0"/>
                </a:lnTo>
                <a:lnTo>
                  <a:pt x="2988000" y="2869200"/>
                </a:lnTo>
                <a:lnTo>
                  <a:pt x="0" y="2869200"/>
                </a:lnTo>
                <a:close/>
              </a:path>
            </a:pathLst>
          </a:custGeom>
          <a:solidFill>
            <a:srgbClr val="8A8A8F"/>
          </a:solidFill>
        </p:spPr>
        <p:txBody>
          <a:bodyPr wrap="square" lIns="36000" tIns="36000" rIns="36000" bIns="36000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Picture Placeholder 29">
            <a:extLst>
              <a:ext uri="{FF2B5EF4-FFF2-40B4-BE49-F238E27FC236}">
                <a16:creationId xmlns:a16="http://schemas.microsoft.com/office/drawing/2014/main" id="{476C4321-F18E-4265-B9ED-9D88EB824BD0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8208000" y="0"/>
            <a:ext cx="3984000" cy="3825600"/>
          </a:xfrm>
          <a:solidFill>
            <a:srgbClr val="8A8A8F"/>
          </a:solidFill>
        </p:spPr>
        <p:txBody>
          <a:bodyPr lIns="36000" tIns="36000" rIns="36000" bIns="36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9">
            <a:extLst>
              <a:ext uri="{FF2B5EF4-FFF2-40B4-BE49-F238E27FC236}">
                <a16:creationId xmlns:a16="http://schemas.microsoft.com/office/drawing/2014/main" id="{B58FFC04-A9D7-4D88-9249-9A17F717FC16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4104000" y="3032400"/>
            <a:ext cx="3984000" cy="3825600"/>
          </a:xfrm>
          <a:solidFill>
            <a:srgbClr val="8A8A8F"/>
          </a:solidFill>
        </p:spPr>
        <p:txBody>
          <a:bodyPr lIns="36000" tIns="36000" rIns="36000" bIns="36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0" name="Text Placeholder 17">
            <a:extLst>
              <a:ext uri="{FF2B5EF4-FFF2-40B4-BE49-F238E27FC236}">
                <a16:creationId xmlns:a16="http://schemas.microsoft.com/office/drawing/2014/main" id="{A9C2E229-FA50-438E-B2F5-A7A99724655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0" y="3964800"/>
            <a:ext cx="3984000" cy="2894400"/>
          </a:xfrm>
          <a:solidFill>
            <a:schemeClr val="tx2"/>
          </a:solidFill>
        </p:spPr>
        <p:txBody>
          <a:bodyPr lIns="324000" tIns="288000">
            <a:normAutofit/>
          </a:bodyPr>
          <a:lstStyle>
            <a:lvl1pPr>
              <a:spcBef>
                <a:spcPts val="0"/>
              </a:spcBef>
              <a:spcAft>
                <a:spcPts val="1600"/>
              </a:spcAft>
              <a:defRPr sz="24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  <p:sp>
        <p:nvSpPr>
          <p:cNvPr id="25" name="Text Placeholder 17">
            <a:extLst>
              <a:ext uri="{FF2B5EF4-FFF2-40B4-BE49-F238E27FC236}">
                <a16:creationId xmlns:a16="http://schemas.microsoft.com/office/drawing/2014/main" id="{5C7ABC47-FFD6-4F04-B695-DEA9CD83F8F1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4104000" y="0"/>
            <a:ext cx="3984000" cy="2894400"/>
          </a:xfrm>
          <a:solidFill>
            <a:schemeClr val="bg2"/>
          </a:solidFill>
        </p:spPr>
        <p:txBody>
          <a:bodyPr lIns="324000" tIns="288000">
            <a:normAutofit/>
          </a:bodyPr>
          <a:lstStyle>
            <a:lvl1pPr>
              <a:spcBef>
                <a:spcPts val="0"/>
              </a:spcBef>
              <a:spcAft>
                <a:spcPts val="1600"/>
              </a:spcAft>
              <a:defRPr sz="24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23744238-95E8-480A-9810-91798B1E441F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8208000" y="3963600"/>
            <a:ext cx="3984000" cy="2894400"/>
          </a:xfrm>
          <a:solidFill>
            <a:srgbClr val="666666"/>
          </a:solidFill>
        </p:spPr>
        <p:txBody>
          <a:bodyPr lIns="324000" tIns="288000">
            <a:normAutofit/>
          </a:bodyPr>
          <a:lstStyle>
            <a:lvl1pPr>
              <a:spcBef>
                <a:spcPts val="0"/>
              </a:spcBef>
              <a:spcAft>
                <a:spcPts val="1600"/>
              </a:spcAft>
              <a:defRPr sz="2400">
                <a:solidFill>
                  <a:schemeClr val="bg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2pPr>
            <a:lvl3pPr marL="249763" indent="0">
              <a:buNone/>
              <a:defRPr>
                <a:solidFill>
                  <a:schemeClr val="bg1"/>
                </a:solidFill>
              </a:defRPr>
            </a:lvl3pPr>
          </a:lstStyle>
          <a:p>
            <a:pPr lvl="0"/>
            <a:r>
              <a:rPr lang="en-US"/>
              <a:t>Title text</a:t>
            </a:r>
          </a:p>
          <a:p>
            <a:pPr lvl="1"/>
            <a:r>
              <a:rPr lang="en-US"/>
              <a:t>Section sub-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F3115BA-E869-42EF-9DC3-1C66FF3578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EC8DD1-4AAC-49E2-A373-1C03C439C8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A13E8BF-B882-4941-A5FE-E0EC5319AA34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5114D4CA-6CB6-4C03-9F0D-4E2DF438FEA7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B185D224-BCF7-4287-A12F-4FC9F6CF51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5FD57FFA-512F-4DA4-B449-DEB94AD6A4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388714544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- 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D01F258-8AC1-40B4-ABA2-E3E43CF4F1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0FF876-FDCA-4C07-8D8B-CA5979C48F61}" type="datetime1">
              <a:rPr lang="en-GB" smtClean="0"/>
              <a:t>23/03/2023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240D156-4E45-42D5-8918-97D1C377F84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627600"/>
            <a:ext cx="3984000" cy="3230400"/>
          </a:xfrm>
          <a:solidFill>
            <a:srgbClr val="8A8A8F"/>
          </a:solidFill>
        </p:spPr>
        <p:txBody>
          <a:bodyPr bIns="50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1B0D80DB-D4B5-4889-B3E2-A8FC04B6726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04000" y="3627600"/>
            <a:ext cx="3984000" cy="3230400"/>
          </a:xfrm>
          <a:solidFill>
            <a:srgbClr val="8A8A8F"/>
          </a:solidFill>
        </p:spPr>
        <p:txBody>
          <a:bodyPr bIns="50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5A59C1C8-9ADA-433D-B71B-DA91960FEAF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08000" y="3627600"/>
            <a:ext cx="3984000" cy="3230400"/>
          </a:xfrm>
          <a:solidFill>
            <a:srgbClr val="8A8A8F"/>
          </a:solidFill>
        </p:spPr>
        <p:txBody>
          <a:bodyPr bIns="504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5BF561B-367C-4ADE-AC3E-03D2FE3736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465E8E-8CA3-4002-911A-9BD3ED788E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A7606F6-7610-41AE-8DA9-3AE9A3B4D2E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08000" y="0"/>
            <a:ext cx="3984000" cy="3504000"/>
          </a:xfrm>
          <a:solidFill>
            <a:schemeClr val="bg2"/>
          </a:solidFill>
        </p:spPr>
        <p:txBody>
          <a:bodyPr lIns="324000"/>
          <a:lstStyle>
            <a:lvl1pPr>
              <a:defRPr sz="10666">
                <a:solidFill>
                  <a:schemeClr val="bg1"/>
                </a:solidFill>
                <a:latin typeface="RR Pioneer UltraLight Condensed" panose="020B0206030201060103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/>
              <a:t>xxx</a:t>
            </a:r>
          </a:p>
          <a:p>
            <a:pPr lvl="1"/>
            <a:r>
              <a:rPr lang="en-US"/>
              <a:t>Short copy</a:t>
            </a:r>
          </a:p>
        </p:txBody>
      </p:sp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473FE0F1-574D-4724-AF1B-9BCB79C245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04000" y="0"/>
            <a:ext cx="3984000" cy="3504000"/>
          </a:xfrm>
          <a:solidFill>
            <a:schemeClr val="tx2"/>
          </a:solidFill>
        </p:spPr>
        <p:txBody>
          <a:bodyPr lIns="324000"/>
          <a:lstStyle>
            <a:lvl1pPr>
              <a:defRPr sz="10666">
                <a:solidFill>
                  <a:schemeClr val="bg1"/>
                </a:solidFill>
                <a:latin typeface="RR Pioneer UltraLight Condensed" panose="020B0206030201060103" pitchFamily="34" charset="0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/>
              <a:t>xxx</a:t>
            </a:r>
          </a:p>
          <a:p>
            <a:pPr lvl="1"/>
            <a:r>
              <a:rPr lang="en-US"/>
              <a:t>Short copy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943953AA-4694-4F86-AE35-6EDC29F01B7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3984000" cy="3504000"/>
          </a:xfrm>
          <a:solidFill>
            <a:srgbClr val="666666"/>
          </a:solidFill>
        </p:spPr>
        <p:txBody>
          <a:bodyPr lIns="324000" tIns="360000"/>
          <a:lstStyle>
            <a:lvl1pPr>
              <a:spcAft>
                <a:spcPts val="933"/>
              </a:spcAft>
              <a:defRPr sz="24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>
                <a:solidFill>
                  <a:schemeClr val="bg1"/>
                </a:solidFill>
                <a:latin typeface="+mn-lt"/>
              </a:defRPr>
            </a:lvl2pPr>
          </a:lstStyle>
          <a:p>
            <a:pPr lvl="0"/>
            <a:r>
              <a:rPr lang="en-US"/>
              <a:t>Title of box </a:t>
            </a:r>
          </a:p>
          <a:p>
            <a:pPr lvl="1"/>
            <a:r>
              <a:rPr lang="en-US"/>
              <a:t>Short copy</a:t>
            </a:r>
          </a:p>
        </p:txBody>
      </p:sp>
    </p:spTree>
    <p:extLst>
      <p:ext uri="{BB962C8B-B14F-4D97-AF65-F5344CB8AC3E}">
        <p14:creationId xmlns:p14="http://schemas.microsoft.com/office/powerpoint/2010/main" val="391579778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Grid - Colb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9A40CE8-CAF2-422F-ABA8-294C14661C3F}"/>
              </a:ext>
            </a:extLst>
          </p:cNvPr>
          <p:cNvSpPr/>
          <p:nvPr userDrawn="1"/>
        </p:nvSpPr>
        <p:spPr>
          <a:xfrm>
            <a:off x="3024721" y="0"/>
            <a:ext cx="916728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60D508-9495-43E2-840E-FAF0FF2068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97C4CA-04FD-45B7-9A62-2D9B31299F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302529-827A-4325-88F0-1605FD219535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F5604-072F-40EC-8AF4-6D3FCB96B9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57B773-E4FE-4B72-B09A-CD4FE4C2B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DF8A76D-AFC8-41D5-9F98-1AE57025272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667600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83E536-B2B6-4AB3-BE81-CD9C4DFB76E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352480" y="5245200"/>
            <a:ext cx="2184000" cy="1612800"/>
          </a:xfrm>
          <a:solidFill>
            <a:schemeClr val="tx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ADF8213-F38F-4375-9761-8E9C55E197D6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3024720" y="52452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82CD08F-5B02-418C-8C46-EE4367FA9D7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08001" y="5245200"/>
            <a:ext cx="2184000" cy="1612800"/>
          </a:xfrm>
          <a:solidFill>
            <a:schemeClr val="tx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77477AAC-B2A4-49D1-891A-755A2F87CF7A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7680240" y="52452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A3239B9-8F4F-4277-8FF7-1C823513C148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024720" y="3496800"/>
            <a:ext cx="2184000" cy="1612800"/>
          </a:xfrm>
          <a:solidFill>
            <a:schemeClr val="tx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98DE704E-239C-40A8-8462-23717F73A3F1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5352480" y="34968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BB5FF2-7702-41E8-881B-235D2FA8DE2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680240" y="3496800"/>
            <a:ext cx="2184000" cy="1612800"/>
          </a:xfrm>
          <a:solidFill>
            <a:schemeClr val="tx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0DB92E4B-5085-4AB3-A2A5-F765BFF1BFED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10008001" y="34968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028DC79D-74EE-4881-9271-CF7A5BD8E7C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352480" y="1748400"/>
            <a:ext cx="2184000" cy="1612800"/>
          </a:xfrm>
          <a:solidFill>
            <a:schemeClr val="tx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Picture Placeholder 10">
            <a:extLst>
              <a:ext uri="{FF2B5EF4-FFF2-40B4-BE49-F238E27FC236}">
                <a16:creationId xmlns:a16="http://schemas.microsoft.com/office/drawing/2014/main" id="{65A75B1C-397A-49AF-AF96-317368B258A7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3024720" y="17484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8E2D7BD9-A127-45E8-80A7-532666BE5E3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008001" y="1748400"/>
            <a:ext cx="2184000" cy="1612800"/>
          </a:xfrm>
          <a:solidFill>
            <a:schemeClr val="tx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Picture Placeholder 10">
            <a:extLst>
              <a:ext uri="{FF2B5EF4-FFF2-40B4-BE49-F238E27FC236}">
                <a16:creationId xmlns:a16="http://schemas.microsoft.com/office/drawing/2014/main" id="{52B73AE7-9807-4BCF-8A76-9D3A02260105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7680240" y="17484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F7480620-A5F6-4BA4-A388-6F24F3ADCFA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024720" y="0"/>
            <a:ext cx="2184000" cy="1612800"/>
          </a:xfrm>
          <a:solidFill>
            <a:schemeClr val="tx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Picture Placeholder 10">
            <a:extLst>
              <a:ext uri="{FF2B5EF4-FFF2-40B4-BE49-F238E27FC236}">
                <a16:creationId xmlns:a16="http://schemas.microsoft.com/office/drawing/2014/main" id="{9AE7B1C6-DC0C-4879-98F2-878553271E3D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5352480" y="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279A2CB4-4269-45ED-8E69-D96F9EBC329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680240" y="0"/>
            <a:ext cx="2184000" cy="1612800"/>
          </a:xfrm>
          <a:solidFill>
            <a:schemeClr val="tx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10">
            <a:extLst>
              <a:ext uri="{FF2B5EF4-FFF2-40B4-BE49-F238E27FC236}">
                <a16:creationId xmlns:a16="http://schemas.microsoft.com/office/drawing/2014/main" id="{04651492-9A4F-4DE3-BF73-2D48A3C0D6DC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10008001" y="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872799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Grid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9A40CE8-CAF2-422F-ABA8-294C14661C3F}"/>
              </a:ext>
            </a:extLst>
          </p:cNvPr>
          <p:cNvSpPr/>
          <p:nvPr userDrawn="1"/>
        </p:nvSpPr>
        <p:spPr>
          <a:xfrm>
            <a:off x="3024721" y="0"/>
            <a:ext cx="916728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60D508-9495-43E2-840E-FAF0FF2068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97C4CA-04FD-45B7-9A62-2D9B31299F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743ABB1-12A9-4BF0-A80F-8497CB902D25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F5604-072F-40EC-8AF4-6D3FCB96B9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57B773-E4FE-4B72-B09A-CD4FE4C2B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DF8A76D-AFC8-41D5-9F98-1AE57025272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667600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83E536-B2B6-4AB3-BE81-CD9C4DFB76E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352480" y="5245200"/>
            <a:ext cx="2184000" cy="1612800"/>
          </a:xfrm>
          <a:solidFill>
            <a:schemeClr val="accent3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ADF8213-F38F-4375-9761-8E9C55E197D6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3024720" y="52452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82CD08F-5B02-418C-8C46-EE4367FA9D7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08001" y="5245200"/>
            <a:ext cx="2184000" cy="1612800"/>
          </a:xfrm>
          <a:solidFill>
            <a:schemeClr val="accent3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77477AAC-B2A4-49D1-891A-755A2F87CF7A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7680240" y="52452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A3239B9-8F4F-4277-8FF7-1C823513C148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024720" y="3496800"/>
            <a:ext cx="2184000" cy="1612800"/>
          </a:xfrm>
          <a:solidFill>
            <a:schemeClr val="accent3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98DE704E-239C-40A8-8462-23717F73A3F1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5352480" y="34968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BB5FF2-7702-41E8-881B-235D2FA8DE2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680240" y="3496800"/>
            <a:ext cx="2184000" cy="1612800"/>
          </a:xfrm>
          <a:solidFill>
            <a:schemeClr val="accent3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0DB92E4B-5085-4AB3-A2A5-F765BFF1BFED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10008001" y="34968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028DC79D-74EE-4881-9271-CF7A5BD8E7C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352480" y="1748400"/>
            <a:ext cx="2184000" cy="1612800"/>
          </a:xfrm>
          <a:solidFill>
            <a:schemeClr val="accent3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Picture Placeholder 10">
            <a:extLst>
              <a:ext uri="{FF2B5EF4-FFF2-40B4-BE49-F238E27FC236}">
                <a16:creationId xmlns:a16="http://schemas.microsoft.com/office/drawing/2014/main" id="{65A75B1C-397A-49AF-AF96-317368B258A7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3024720" y="17484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8E2D7BD9-A127-45E8-80A7-532666BE5E3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008001" y="1748400"/>
            <a:ext cx="2184000" cy="1612800"/>
          </a:xfrm>
          <a:solidFill>
            <a:schemeClr val="accent3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1" name="Picture Placeholder 10">
            <a:extLst>
              <a:ext uri="{FF2B5EF4-FFF2-40B4-BE49-F238E27FC236}">
                <a16:creationId xmlns:a16="http://schemas.microsoft.com/office/drawing/2014/main" id="{52B73AE7-9807-4BCF-8A76-9D3A02260105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7680240" y="17484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F7480620-A5F6-4BA4-A388-6F24F3ADCFA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024720" y="0"/>
            <a:ext cx="2184000" cy="1612800"/>
          </a:xfrm>
          <a:solidFill>
            <a:schemeClr val="accent3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Picture Placeholder 10">
            <a:extLst>
              <a:ext uri="{FF2B5EF4-FFF2-40B4-BE49-F238E27FC236}">
                <a16:creationId xmlns:a16="http://schemas.microsoft.com/office/drawing/2014/main" id="{9AE7B1C6-DC0C-4879-98F2-878553271E3D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5352480" y="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279A2CB4-4269-45ED-8E69-D96F9EBC329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680240" y="0"/>
            <a:ext cx="2184000" cy="1612800"/>
          </a:xfrm>
          <a:solidFill>
            <a:schemeClr val="accent3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5" name="Picture Placeholder 10">
            <a:extLst>
              <a:ext uri="{FF2B5EF4-FFF2-40B4-BE49-F238E27FC236}">
                <a16:creationId xmlns:a16="http://schemas.microsoft.com/office/drawing/2014/main" id="{04651492-9A4F-4DE3-BF73-2D48A3C0D6DC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10008001" y="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778855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Grid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9A40CE8-CAF2-422F-ABA8-294C14661C3F}"/>
              </a:ext>
            </a:extLst>
          </p:cNvPr>
          <p:cNvSpPr/>
          <p:nvPr userDrawn="1"/>
        </p:nvSpPr>
        <p:spPr>
          <a:xfrm>
            <a:off x="3024721" y="0"/>
            <a:ext cx="916728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60D508-9495-43E2-840E-FAF0FF2068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97C4CA-04FD-45B7-9A62-2D9B31299F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596E31-225B-492D-9F10-E328926D51EB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F5604-072F-40EC-8AF4-6D3FCB96B9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57B773-E4FE-4B72-B09A-CD4FE4C2B6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1DF8A76D-AFC8-41D5-9F98-1AE57025272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667600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83E536-B2B6-4AB3-BE81-CD9C4DFB76E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352480" y="5245200"/>
            <a:ext cx="2184000" cy="1612800"/>
          </a:xfrm>
          <a:solidFill>
            <a:schemeClr val="bg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ADF8213-F38F-4375-9761-8E9C55E197D6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3024720" y="52452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82CD08F-5B02-418C-8C46-EE4367FA9D72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0008001" y="5245200"/>
            <a:ext cx="2184000" cy="1612800"/>
          </a:xfrm>
          <a:solidFill>
            <a:schemeClr val="bg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77477AAC-B2A4-49D1-891A-755A2F87CF7A}"/>
              </a:ext>
            </a:extLst>
          </p:cNvPr>
          <p:cNvSpPr>
            <a:spLocks noGrp="1"/>
          </p:cNvSpPr>
          <p:nvPr>
            <p:ph type="pic" sz="quarter" idx="46"/>
          </p:nvPr>
        </p:nvSpPr>
        <p:spPr>
          <a:xfrm>
            <a:off x="7680240" y="52452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A3239B9-8F4F-4277-8FF7-1C823513C148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024720" y="3496800"/>
            <a:ext cx="2184000" cy="1612800"/>
          </a:xfrm>
          <a:solidFill>
            <a:schemeClr val="bg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5" name="Picture Placeholder 10">
            <a:extLst>
              <a:ext uri="{FF2B5EF4-FFF2-40B4-BE49-F238E27FC236}">
                <a16:creationId xmlns:a16="http://schemas.microsoft.com/office/drawing/2014/main" id="{98DE704E-239C-40A8-8462-23717F73A3F1}"/>
              </a:ext>
            </a:extLst>
          </p:cNvPr>
          <p:cNvSpPr>
            <a:spLocks noGrp="1"/>
          </p:cNvSpPr>
          <p:nvPr>
            <p:ph type="pic" sz="quarter" idx="48"/>
          </p:nvPr>
        </p:nvSpPr>
        <p:spPr>
          <a:xfrm>
            <a:off x="5352480" y="34968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BB5FF2-7702-41E8-881B-235D2FA8DE2A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680240" y="3496800"/>
            <a:ext cx="2184000" cy="1612800"/>
          </a:xfrm>
          <a:solidFill>
            <a:schemeClr val="bg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7" name="Picture Placeholder 10">
            <a:extLst>
              <a:ext uri="{FF2B5EF4-FFF2-40B4-BE49-F238E27FC236}">
                <a16:creationId xmlns:a16="http://schemas.microsoft.com/office/drawing/2014/main" id="{0DB92E4B-5085-4AB3-A2A5-F765BFF1BFED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10008001" y="34968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028DC79D-74EE-4881-9271-CF7A5BD8E7C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5352480" y="1748400"/>
            <a:ext cx="2184000" cy="1612800"/>
          </a:xfrm>
          <a:solidFill>
            <a:schemeClr val="bg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19" name="Picture Placeholder 10">
            <a:extLst>
              <a:ext uri="{FF2B5EF4-FFF2-40B4-BE49-F238E27FC236}">
                <a16:creationId xmlns:a16="http://schemas.microsoft.com/office/drawing/2014/main" id="{65A75B1C-397A-49AF-AF96-317368B258A7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3024720" y="17484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8E2D7BD9-A127-45E8-80A7-532666BE5E3D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10008001" y="1748400"/>
            <a:ext cx="2184000" cy="1612800"/>
          </a:xfrm>
          <a:solidFill>
            <a:schemeClr val="bg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21" name="Picture Placeholder 10">
            <a:extLst>
              <a:ext uri="{FF2B5EF4-FFF2-40B4-BE49-F238E27FC236}">
                <a16:creationId xmlns:a16="http://schemas.microsoft.com/office/drawing/2014/main" id="{52B73AE7-9807-4BCF-8A76-9D3A02260105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7680240" y="174840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F7480620-A5F6-4BA4-A388-6F24F3ADCFA8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3024720" y="0"/>
            <a:ext cx="2184000" cy="1612800"/>
          </a:xfrm>
          <a:solidFill>
            <a:schemeClr val="bg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23" name="Picture Placeholder 10">
            <a:extLst>
              <a:ext uri="{FF2B5EF4-FFF2-40B4-BE49-F238E27FC236}">
                <a16:creationId xmlns:a16="http://schemas.microsoft.com/office/drawing/2014/main" id="{9AE7B1C6-DC0C-4879-98F2-878553271E3D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>
          <a:xfrm>
            <a:off x="5352480" y="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279A2CB4-4269-45ED-8E69-D96F9EBC329D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680240" y="0"/>
            <a:ext cx="2184000" cy="1612800"/>
          </a:xfrm>
          <a:solidFill>
            <a:schemeClr val="bg2"/>
          </a:solidFill>
        </p:spPr>
        <p:txBody>
          <a:bodyPr lIns="180000" tIns="108000" rIns="180000" bIns="108000"/>
          <a:lstStyle>
            <a:lvl1pPr>
              <a:defRPr sz="160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sz="1200">
                <a:solidFill>
                  <a:schemeClr val="bg1"/>
                </a:solidFill>
                <a:latin typeface="RR Pioneer Medium" panose="020B0603050201040103" pitchFamily="34" charset="0"/>
              </a:defRPr>
            </a:lvl2pPr>
          </a:lstStyle>
          <a:p>
            <a:pPr lvl="0"/>
            <a:r>
              <a:rPr lang="en-US"/>
              <a:t>Title of box</a:t>
            </a:r>
          </a:p>
          <a:p>
            <a:pPr lvl="1"/>
            <a:r>
              <a:rPr lang="en-US"/>
              <a:t>Body text</a:t>
            </a:r>
          </a:p>
        </p:txBody>
      </p:sp>
      <p:sp>
        <p:nvSpPr>
          <p:cNvPr id="25" name="Picture Placeholder 10">
            <a:extLst>
              <a:ext uri="{FF2B5EF4-FFF2-40B4-BE49-F238E27FC236}">
                <a16:creationId xmlns:a16="http://schemas.microsoft.com/office/drawing/2014/main" id="{04651492-9A4F-4DE3-BF73-2D48A3C0D6DC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>
          <a:xfrm>
            <a:off x="10008001" y="0"/>
            <a:ext cx="2184000" cy="1612800"/>
          </a:xfrm>
          <a:solidFill>
            <a:srgbClr val="8A8A8F"/>
          </a:solidFill>
        </p:spPr>
        <p:txBody>
          <a:bodyPr bIns="540000" anchor="ctr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647793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edia Placeholder 6">
            <a:extLst>
              <a:ext uri="{FF2B5EF4-FFF2-40B4-BE49-F238E27FC236}">
                <a16:creationId xmlns:a16="http://schemas.microsoft.com/office/drawing/2014/main" id="{DB56A04C-E4A5-40F3-9668-78022E96CBAE}"/>
              </a:ext>
            </a:extLst>
          </p:cNvPr>
          <p:cNvSpPr>
            <a:spLocks noGrp="1"/>
          </p:cNvSpPr>
          <p:nvPr>
            <p:ph type="media" sz="quarter" idx="13" hasCustomPrompt="1"/>
          </p:nvPr>
        </p:nvSpPr>
        <p:spPr>
          <a:xfrm>
            <a:off x="0" y="0"/>
            <a:ext cx="12192000" cy="6858000"/>
          </a:xfrm>
          <a:solidFill>
            <a:srgbClr val="8A8A8F"/>
          </a:solidFill>
        </p:spPr>
        <p:txBody>
          <a:bodyPr bIns="648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sert video by clicking the ic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93B564F-1708-4BB9-BF64-438486BE9A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2F3C77-EE20-48D9-8942-5B4E95254074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95DCC5B-4086-4ACA-91D6-0287B376A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E7C3A86-C141-4976-908C-C4C78B7C4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4901144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lte, Subtitle &amp;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D57BD6F0-E65B-40FB-A6B0-99AADA93DD53}"/>
              </a:ext>
            </a:extLst>
          </p:cNvPr>
          <p:cNvSpPr/>
          <p:nvPr userDrawn="1"/>
        </p:nvSpPr>
        <p:spPr>
          <a:xfrm>
            <a:off x="3024721" y="0"/>
            <a:ext cx="9167281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E1E0BB1-14CD-4110-8446-A161FC1EC3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0F3C3D-8F9E-4BFB-8978-75648D7AA82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B8CD240-28D6-48E3-9AF3-18107A29E2F5}" type="datetime1">
              <a:rPr lang="en-GB" smtClean="0"/>
              <a:t>23/03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2B9991A-4B1A-43A7-8F6E-C0B41E40B2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ivate | © 2020 Rolls-Royce | Not Subject to Export Control </a:t>
            </a:r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B65A3A-2EF3-4EB5-8345-0CA07D459B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0A7910FC-12D1-4882-A085-8E9EEA95DCA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432000" y="2577600"/>
            <a:ext cx="2380800" cy="2822400"/>
          </a:xfrm>
        </p:spPr>
        <p:txBody>
          <a:bodyPr anchor="t" anchorCtr="0">
            <a:normAutofit/>
          </a:bodyPr>
          <a:lstStyle>
            <a:lvl1pPr>
              <a:defRPr sz="1333">
                <a:solidFill>
                  <a:srgbClr val="666666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1947A44-802F-4BE4-AC21-8DC65877378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647020" y="1316566"/>
            <a:ext cx="8113183" cy="4083433"/>
          </a:xfrm>
        </p:spPr>
        <p:txBody>
          <a:bodyPr>
            <a:normAutofit/>
          </a:bodyPr>
          <a:lstStyle>
            <a:lvl1pPr>
              <a:defRPr sz="2667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Emphasis or quote with descriptio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6184FE39-5C2E-4DB0-9003-91E27BF84B6E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647020" y="5611286"/>
            <a:ext cx="8113183" cy="554567"/>
          </a:xfrm>
        </p:spPr>
        <p:txBody>
          <a:bodyPr>
            <a:normAutofit/>
          </a:bodyPr>
          <a:lstStyle>
            <a:lvl1pPr>
              <a:defRPr sz="1600">
                <a:solidFill>
                  <a:srgbClr val="4F98FF"/>
                </a:solidFill>
              </a:defRPr>
            </a:lvl1pPr>
            <a:lvl2pPr marL="0" indent="0">
              <a:buNone/>
              <a:defRPr sz="1600">
                <a:solidFill>
                  <a:srgbClr val="4F98FF"/>
                </a:solidFill>
              </a:defRPr>
            </a:lvl2pPr>
          </a:lstStyle>
          <a:p>
            <a:pPr lvl="0"/>
            <a:r>
              <a:rPr lang="en-US" err="1"/>
              <a:t>Attributee</a:t>
            </a:r>
            <a:r>
              <a:rPr lang="en-US"/>
              <a:t>/ source</a:t>
            </a:r>
          </a:p>
          <a:p>
            <a:pPr lvl="1"/>
            <a:endParaRPr lang="en-GB"/>
          </a:p>
        </p:txBody>
      </p:sp>
      <p:pic>
        <p:nvPicPr>
          <p:cNvPr id="12" name="Picture 11" descr="Shape, polygon&#10;&#10;Description automatically generated">
            <a:extLst>
              <a:ext uri="{FF2B5EF4-FFF2-40B4-BE49-F238E27FC236}">
                <a16:creationId xmlns:a16="http://schemas.microsoft.com/office/drawing/2014/main" id="{DC0E0D73-9315-064C-88BB-AE9BE01C297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016" y="0"/>
            <a:ext cx="5758985" cy="4169120"/>
          </a:xfrm>
          <a:prstGeom prst="rect">
            <a:avLst/>
          </a:prstGeom>
        </p:spPr>
      </p:pic>
      <p:pic>
        <p:nvPicPr>
          <p:cNvPr id="14" name="Picture 13" descr="A picture containing text, tableware, plate, dishware&#10;&#10;Description automatically generated">
            <a:extLst>
              <a:ext uri="{FF2B5EF4-FFF2-40B4-BE49-F238E27FC236}">
                <a16:creationId xmlns:a16="http://schemas.microsoft.com/office/drawing/2014/main" id="{30CB511D-FFD5-D544-99E3-30317F2599F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65477" y="355084"/>
            <a:ext cx="2379771" cy="727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05568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5" Type="http://schemas.openxmlformats.org/officeDocument/2006/relationships/tags" Target="../tags/tag32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26" Type="http://schemas.openxmlformats.org/officeDocument/2006/relationships/slideLayout" Target="../slideLayouts/slideLayout71.xml"/><Relationship Id="rId39" Type="http://schemas.openxmlformats.org/officeDocument/2006/relationships/slideLayout" Target="../slideLayouts/slideLayout84.xml"/><Relationship Id="rId21" Type="http://schemas.openxmlformats.org/officeDocument/2006/relationships/slideLayout" Target="../slideLayouts/slideLayout66.xml"/><Relationship Id="rId34" Type="http://schemas.openxmlformats.org/officeDocument/2006/relationships/slideLayout" Target="../slideLayouts/slideLayout79.xml"/><Relationship Id="rId42" Type="http://schemas.openxmlformats.org/officeDocument/2006/relationships/slideLayout" Target="../slideLayouts/slideLayout87.xml"/><Relationship Id="rId47" Type="http://schemas.openxmlformats.org/officeDocument/2006/relationships/slideLayout" Target="../slideLayouts/slideLayout92.xml"/><Relationship Id="rId50" Type="http://schemas.openxmlformats.org/officeDocument/2006/relationships/slideLayout" Target="../slideLayouts/slideLayout95.xml"/><Relationship Id="rId55" Type="http://schemas.openxmlformats.org/officeDocument/2006/relationships/slideLayout" Target="../slideLayouts/slideLayout100.xml"/><Relationship Id="rId63" Type="http://schemas.openxmlformats.org/officeDocument/2006/relationships/tags" Target="../tags/tag36.xml"/><Relationship Id="rId7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9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56.xml"/><Relationship Id="rId24" Type="http://schemas.openxmlformats.org/officeDocument/2006/relationships/slideLayout" Target="../slideLayouts/slideLayout69.xml"/><Relationship Id="rId32" Type="http://schemas.openxmlformats.org/officeDocument/2006/relationships/slideLayout" Target="../slideLayouts/slideLayout77.xml"/><Relationship Id="rId37" Type="http://schemas.openxmlformats.org/officeDocument/2006/relationships/slideLayout" Target="../slideLayouts/slideLayout82.xml"/><Relationship Id="rId40" Type="http://schemas.openxmlformats.org/officeDocument/2006/relationships/slideLayout" Target="../slideLayouts/slideLayout85.xml"/><Relationship Id="rId45" Type="http://schemas.openxmlformats.org/officeDocument/2006/relationships/slideLayout" Target="../slideLayouts/slideLayout90.xml"/><Relationship Id="rId53" Type="http://schemas.openxmlformats.org/officeDocument/2006/relationships/slideLayout" Target="../slideLayouts/slideLayout98.xml"/><Relationship Id="rId58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50.xml"/><Relationship Id="rId61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Relationship Id="rId27" Type="http://schemas.openxmlformats.org/officeDocument/2006/relationships/slideLayout" Target="../slideLayouts/slideLayout72.xml"/><Relationship Id="rId30" Type="http://schemas.openxmlformats.org/officeDocument/2006/relationships/slideLayout" Target="../slideLayouts/slideLayout75.xml"/><Relationship Id="rId35" Type="http://schemas.openxmlformats.org/officeDocument/2006/relationships/slideLayout" Target="../slideLayouts/slideLayout80.xml"/><Relationship Id="rId43" Type="http://schemas.openxmlformats.org/officeDocument/2006/relationships/slideLayout" Target="../slideLayouts/slideLayout88.xml"/><Relationship Id="rId48" Type="http://schemas.openxmlformats.org/officeDocument/2006/relationships/slideLayout" Target="../slideLayouts/slideLayout93.xml"/><Relationship Id="rId56" Type="http://schemas.openxmlformats.org/officeDocument/2006/relationships/slideLayout" Target="../slideLayouts/slideLayout101.xml"/><Relationship Id="rId8" Type="http://schemas.openxmlformats.org/officeDocument/2006/relationships/slideLayout" Target="../slideLayouts/slideLayout53.xml"/><Relationship Id="rId51" Type="http://schemas.openxmlformats.org/officeDocument/2006/relationships/slideLayout" Target="../slideLayouts/slideLayout96.xml"/><Relationship Id="rId3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5" Type="http://schemas.openxmlformats.org/officeDocument/2006/relationships/slideLayout" Target="../slideLayouts/slideLayout70.xml"/><Relationship Id="rId33" Type="http://schemas.openxmlformats.org/officeDocument/2006/relationships/slideLayout" Target="../slideLayouts/slideLayout78.xml"/><Relationship Id="rId38" Type="http://schemas.openxmlformats.org/officeDocument/2006/relationships/slideLayout" Target="../slideLayouts/slideLayout83.xml"/><Relationship Id="rId46" Type="http://schemas.openxmlformats.org/officeDocument/2006/relationships/slideLayout" Target="../slideLayouts/slideLayout91.xml"/><Relationship Id="rId59" Type="http://schemas.openxmlformats.org/officeDocument/2006/relationships/slideLayout" Target="../slideLayouts/slideLayout104.xml"/><Relationship Id="rId20" Type="http://schemas.openxmlformats.org/officeDocument/2006/relationships/slideLayout" Target="../slideLayouts/slideLayout65.xml"/><Relationship Id="rId41" Type="http://schemas.openxmlformats.org/officeDocument/2006/relationships/slideLayout" Target="../slideLayouts/slideLayout86.xml"/><Relationship Id="rId54" Type="http://schemas.openxmlformats.org/officeDocument/2006/relationships/slideLayout" Target="../slideLayouts/slideLayout99.xml"/><Relationship Id="rId62" Type="http://schemas.openxmlformats.org/officeDocument/2006/relationships/theme" Target="../theme/theme3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0.xml"/><Relationship Id="rId23" Type="http://schemas.openxmlformats.org/officeDocument/2006/relationships/slideLayout" Target="../slideLayouts/slideLayout68.xml"/><Relationship Id="rId28" Type="http://schemas.openxmlformats.org/officeDocument/2006/relationships/slideLayout" Target="../slideLayouts/slideLayout73.xml"/><Relationship Id="rId36" Type="http://schemas.openxmlformats.org/officeDocument/2006/relationships/slideLayout" Target="../slideLayouts/slideLayout81.xml"/><Relationship Id="rId49" Type="http://schemas.openxmlformats.org/officeDocument/2006/relationships/slideLayout" Target="../slideLayouts/slideLayout94.xml"/><Relationship Id="rId57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55.xml"/><Relationship Id="rId31" Type="http://schemas.openxmlformats.org/officeDocument/2006/relationships/slideLayout" Target="../slideLayouts/slideLayout76.xml"/><Relationship Id="rId44" Type="http://schemas.openxmlformats.org/officeDocument/2006/relationships/slideLayout" Target="../slideLayouts/slideLayout89.xml"/><Relationship Id="rId52" Type="http://schemas.openxmlformats.org/officeDocument/2006/relationships/slideLayout" Target="../slideLayouts/slideLayout97.xml"/><Relationship Id="rId60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33D9988-1ED9-42AC-9D2B-63F85F765A3A}"/>
              </a:ext>
            </a:extLst>
          </p:cNvPr>
          <p:cNvSpPr/>
          <p:nvPr userDrawn="1"/>
        </p:nvSpPr>
        <p:spPr>
          <a:xfrm>
            <a:off x="3024717" y="0"/>
            <a:ext cx="9167283" cy="68580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272E75-62DA-405E-B740-2165DB3E67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1329576"/>
            <a:ext cx="2380800" cy="1161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5C20BC-7267-4214-A72D-8EA5AD8F7E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48000" y="1315200"/>
            <a:ext cx="8112000" cy="469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D45418-82B1-4BC8-A729-E90C1FD3E6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00936" y="6307200"/>
            <a:ext cx="75906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lang="en-GB" sz="933" kern="1200" smtClean="0">
                <a:solidFill>
                  <a:srgbClr val="666666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</a:lstStyle>
          <a:p>
            <a:fld id="{C1B30449-DAC9-447A-845E-3F2AA64AF39B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C8F470-21F2-4F63-BB0C-454CBC04CB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3600" y="6273600"/>
            <a:ext cx="2164800" cy="38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33">
                <a:solidFill>
                  <a:srgbClr val="666666"/>
                </a:solidFill>
                <a:latin typeface="RR Pioneer Light Condensed" panose="020B0306050201060103" pitchFamily="34" charset="0"/>
              </a:defRPr>
            </a:lvl1pPr>
          </a:lstStyle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56A3FD-1372-44B2-B6D5-108E5AA818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0" y="6307200"/>
            <a:ext cx="264000" cy="31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  <a:latin typeface="+mj-lt"/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330ADF3-D781-4759-A78E-7465A89B4271}"/>
              </a:ext>
            </a:extLst>
          </p:cNvPr>
          <p:cNvGrpSpPr/>
          <p:nvPr userDrawn="1"/>
        </p:nvGrpSpPr>
        <p:grpSpPr>
          <a:xfrm>
            <a:off x="431801" y="311150"/>
            <a:ext cx="428348" cy="696421"/>
            <a:chOff x="-3513606" y="270529"/>
            <a:chExt cx="1671638" cy="2717801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3D988948-DE37-43C6-890E-5A4406055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7CA9A4D-29DD-4E11-AD7F-C2EBAB2B72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D7A670E1-E298-4BE4-B806-08325AF5DE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44"/>
    </p:custDataLst>
    <p:extLst>
      <p:ext uri="{BB962C8B-B14F-4D97-AF65-F5344CB8AC3E}">
        <p14:creationId xmlns:p14="http://schemas.microsoft.com/office/powerpoint/2010/main" val="761932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228594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478355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1766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956709" indent="-228594" algn="l" defTabSz="914377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04">
          <p15:clr>
            <a:srgbClr val="F26B43"/>
          </p15:clr>
        </p15:guide>
        <p15:guide id="2" pos="5556">
          <p15:clr>
            <a:srgbClr val="F26B43"/>
          </p15:clr>
        </p15:guide>
        <p15:guide id="3" orient="horz" pos="1620">
          <p15:clr>
            <a:srgbClr val="F26B43"/>
          </p15:clr>
        </p15:guide>
        <p15:guide id="4" orient="horz" pos="146">
          <p15:clr>
            <a:srgbClr val="F26B43"/>
          </p15:clr>
        </p15:guide>
        <p15:guide id="5" orient="horz" pos="3094">
          <p15:clr>
            <a:srgbClr val="F26B43"/>
          </p15:clr>
        </p15:guide>
        <p15:guide id="6" pos="1429">
          <p15:clr>
            <a:srgbClr val="F26B43"/>
          </p15:clr>
        </p15:guide>
        <p15:guide id="7" orient="horz" pos="237">
          <p15:clr>
            <a:srgbClr val="F26B43"/>
          </p15:clr>
        </p15:guide>
        <p15:guide id="8" orient="horz" pos="3003">
          <p15:clr>
            <a:srgbClr val="F26B43"/>
          </p15:clr>
        </p15:guide>
        <p15:guide id="9" orient="horz" pos="2913">
          <p15:clr>
            <a:srgbClr val="F26B43"/>
          </p15:clr>
        </p15:guide>
        <p15:guide id="11" orient="horz" pos="622">
          <p15:clr>
            <a:srgbClr val="F26B43"/>
          </p15:clr>
        </p15:guide>
        <p15:guide id="12" pos="1723">
          <p15:clr>
            <a:srgbClr val="F26B43"/>
          </p15:clr>
        </p15:guide>
        <p15:guide id="13" orient="horz" pos="2550">
          <p15:clr>
            <a:srgbClr val="F26B43"/>
          </p15:clr>
        </p15:guide>
        <p15:guide id="14" pos="28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Rectangle 46">
            <a:extLst>
              <a:ext uri="{FF2B5EF4-FFF2-40B4-BE49-F238E27FC236}">
                <a16:creationId xmlns:a16="http://schemas.microsoft.com/office/drawing/2014/main" id="{D2F77AB9-A977-49C8-BDE1-270D89341220}"/>
              </a:ext>
            </a:extLst>
          </p:cNvPr>
          <p:cNvSpPr/>
          <p:nvPr userDrawn="1"/>
        </p:nvSpPr>
        <p:spPr>
          <a:xfrm>
            <a:off x="3033197" y="0"/>
            <a:ext cx="9158803" cy="68580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>
              <a:latin typeface="RR Pioneer" panose="020B0503050201040103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9B4B42-DD00-5044-84D5-F9B6001424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47020" y="1316769"/>
            <a:ext cx="8113183" cy="469547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4"/>
            <a:endParaRPr lang="en-US"/>
          </a:p>
          <a:p>
            <a:pPr lvl="0"/>
            <a:endParaRPr lang="en-GB"/>
          </a:p>
          <a:p>
            <a:pPr lvl="0"/>
            <a:endParaRPr lang="en-GB"/>
          </a:p>
        </p:txBody>
      </p:sp>
      <p:sp>
        <p:nvSpPr>
          <p:cNvPr id="5" name="Title Placeholder 4">
            <a:extLst>
              <a:ext uri="{FF2B5EF4-FFF2-40B4-BE49-F238E27FC236}">
                <a16:creationId xmlns:a16="http://schemas.microsoft.com/office/drawing/2014/main" id="{0CE7EBF9-450D-4173-901A-CDD2E0D046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3" y="1316565"/>
            <a:ext cx="2382196" cy="116023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343410D1-F2FF-4F1D-81B3-FA0FC058A6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1803" y="6308879"/>
            <a:ext cx="264300" cy="313364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 algn="l">
              <a:defRPr lang="en-GB" sz="1000" strike="noStrike" kern="1200" smtClean="0">
                <a:solidFill>
                  <a:schemeClr val="bg2"/>
                </a:solidFill>
                <a:latin typeface="RR Pioneer Bold" panose="020B0803050201040103" pitchFamily="34" charset="0"/>
                <a:ea typeface="+mn-ea"/>
                <a:cs typeface="+mn-cs"/>
              </a:defRPr>
            </a:lvl1pPr>
          </a:lstStyle>
          <a:p>
            <a:fld id="{6D11FE4E-4FB7-451D-AC48-A0B381E4258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F281460B-7E69-44D8-BB55-6C8C9DB2BFA8}"/>
              </a:ext>
            </a:extLst>
          </p:cNvPr>
          <p:cNvSpPr>
            <a:spLocks/>
          </p:cNvSpPr>
          <p:nvPr/>
        </p:nvSpPr>
        <p:spPr bwMode="auto">
          <a:xfrm>
            <a:off x="435460" y="315217"/>
            <a:ext cx="421840" cy="689099"/>
          </a:xfrm>
          <a:custGeom>
            <a:avLst/>
            <a:gdLst>
              <a:gd name="T0" fmla="*/ 0 w 686"/>
              <a:gd name="T1" fmla="*/ 78 h 1123"/>
              <a:gd name="T2" fmla="*/ 77 w 686"/>
              <a:gd name="T3" fmla="*/ 0 h 1123"/>
              <a:gd name="T4" fmla="*/ 609 w 686"/>
              <a:gd name="T5" fmla="*/ 0 h 1123"/>
              <a:gd name="T6" fmla="*/ 686 w 686"/>
              <a:gd name="T7" fmla="*/ 78 h 1123"/>
              <a:gd name="T8" fmla="*/ 686 w 686"/>
              <a:gd name="T9" fmla="*/ 1045 h 1123"/>
              <a:gd name="T10" fmla="*/ 609 w 686"/>
              <a:gd name="T11" fmla="*/ 1123 h 1123"/>
              <a:gd name="T12" fmla="*/ 77 w 686"/>
              <a:gd name="T13" fmla="*/ 1123 h 1123"/>
              <a:gd name="T14" fmla="*/ 0 w 686"/>
              <a:gd name="T15" fmla="*/ 1045 h 1123"/>
              <a:gd name="T16" fmla="*/ 0 w 686"/>
              <a:gd name="T17" fmla="*/ 78 h 1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86" h="1123">
                <a:moveTo>
                  <a:pt x="0" y="78"/>
                </a:moveTo>
                <a:cubicBezTo>
                  <a:pt x="0" y="35"/>
                  <a:pt x="34" y="0"/>
                  <a:pt x="77" y="0"/>
                </a:cubicBezTo>
                <a:cubicBezTo>
                  <a:pt x="609" y="0"/>
                  <a:pt x="609" y="0"/>
                  <a:pt x="609" y="0"/>
                </a:cubicBezTo>
                <a:cubicBezTo>
                  <a:pt x="651" y="0"/>
                  <a:pt x="686" y="35"/>
                  <a:pt x="686" y="78"/>
                </a:cubicBezTo>
                <a:cubicBezTo>
                  <a:pt x="686" y="1045"/>
                  <a:pt x="686" y="1045"/>
                  <a:pt x="686" y="1045"/>
                </a:cubicBezTo>
                <a:cubicBezTo>
                  <a:pt x="686" y="1088"/>
                  <a:pt x="651" y="1123"/>
                  <a:pt x="609" y="1123"/>
                </a:cubicBezTo>
                <a:cubicBezTo>
                  <a:pt x="77" y="1123"/>
                  <a:pt x="77" y="1123"/>
                  <a:pt x="77" y="1123"/>
                </a:cubicBezTo>
                <a:cubicBezTo>
                  <a:pt x="34" y="1123"/>
                  <a:pt x="0" y="1088"/>
                  <a:pt x="0" y="1045"/>
                </a:cubicBezTo>
                <a:lnTo>
                  <a:pt x="0" y="7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GB" sz="2400">
              <a:latin typeface="RR Pioneer" panose="020B0503050201040103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44BEE525-0574-4640-BCB1-79B43C1B1584}"/>
              </a:ext>
            </a:extLst>
          </p:cNvPr>
          <p:cNvGrpSpPr/>
          <p:nvPr userDrawn="1"/>
        </p:nvGrpSpPr>
        <p:grpSpPr>
          <a:xfrm>
            <a:off x="431803" y="311152"/>
            <a:ext cx="428348" cy="696421"/>
            <a:chOff x="-3513606" y="270529"/>
            <a:chExt cx="1671638" cy="2717801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F281460B-7E69-44D8-BB55-6C8C9DB2BFA8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latin typeface="RR Pioneer" panose="020B0503050201040103" pitchFamily="34" charset="0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81AB2F52-F65D-4BD3-BB7A-A419AFED04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latin typeface="RR Pioneer" panose="020B0503050201040103" pitchFamily="34" charset="0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5A87BDF5-C497-4CA6-95D4-0739FCDDD64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latin typeface="RR Pioneer" panose="020B0503050201040103" pitchFamily="34" charset="0"/>
              </a:endParaRPr>
            </a:p>
          </p:txBody>
        </p:sp>
      </p:grp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CBAA7637-B416-4AEA-B16D-F1C2A94EB4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1422" y="6274003"/>
            <a:ext cx="2165545" cy="383116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US" sz="933" kern="1200">
                <a:solidFill>
                  <a:srgbClr val="666666"/>
                </a:solidFill>
                <a:latin typeface="RR Pioneer Light Condensed" panose="020B0306050201060103" pitchFamily="34" charset="0"/>
                <a:ea typeface="+mj-ea"/>
                <a:cs typeface="+mj-cs"/>
              </a:defRPr>
            </a:lvl1pPr>
          </a:lstStyle>
          <a:p>
            <a:r>
              <a:rPr lang="en-GB"/>
              <a:t>Private © 2019 Rolls-Royce</a:t>
            </a:r>
          </a:p>
          <a:p>
            <a:r>
              <a:rPr lang="en-GB"/>
              <a:t>Services WebEx July 2019</a:t>
            </a:r>
          </a:p>
        </p:txBody>
      </p:sp>
      <p:sp>
        <p:nvSpPr>
          <p:cNvPr id="2" name="TextBox 1" hidden="1">
            <a:extLst>
              <a:ext uri="{FF2B5EF4-FFF2-40B4-BE49-F238E27FC236}">
                <a16:creationId xmlns:a16="http://schemas.microsoft.com/office/drawing/2014/main" id="{037286FC-2F7B-43DF-8D7C-82FAB6CB01DB}"/>
              </a:ext>
            </a:extLst>
          </p:cNvPr>
          <p:cNvSpPr txBox="1"/>
          <p:nvPr userDrawn="1"/>
        </p:nvSpPr>
        <p:spPr>
          <a:xfrm>
            <a:off x="751419" y="6274004"/>
            <a:ext cx="2164800" cy="452581"/>
          </a:xfrm>
          <a:prstGeom prst="rect">
            <a:avLst/>
          </a:prstGeom>
          <a:noFill/>
        </p:spPr>
        <p:txBody>
          <a:bodyPr wrap="square" lIns="96000" tIns="96000" rIns="96000" bIns="96000" rtlCol="0" anchor="ctr">
            <a:noAutofit/>
          </a:bodyPr>
          <a:lstStyle/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33" kern="1200" noProof="0">
                <a:solidFill>
                  <a:srgbClr val="666666"/>
                </a:solidFill>
                <a:latin typeface="RR Pioneer Light Condensed" panose="020B0306050201060103" pitchFamily="34" charset="0"/>
                <a:ea typeface="+mj-ea"/>
                <a:cs typeface="+mj-cs"/>
              </a:rPr>
              <a:t>Private © 2019 Rolls-Royce</a:t>
            </a:r>
          </a:p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33" kern="1200" noProof="0">
                <a:solidFill>
                  <a:srgbClr val="666666"/>
                </a:solidFill>
                <a:latin typeface="RR Pioneer Light Condensed" panose="020B0306050201060103" pitchFamily="34" charset="0"/>
                <a:ea typeface="+mj-ea"/>
                <a:cs typeface="+mj-cs"/>
              </a:rPr>
              <a:t>Not Subject to Export Control</a:t>
            </a: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7707286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marL="0" indent="0" algn="l" defTabSz="914332" rtl="0" eaLnBrk="1" latinLnBrk="0" hangingPunct="1">
        <a:lnSpc>
          <a:spcPct val="90000"/>
        </a:lnSpc>
        <a:spcBef>
          <a:spcPct val="0"/>
        </a:spcBef>
        <a:buFont typeface="+mj-lt"/>
        <a:buNone/>
        <a:defRPr sz="2000" kern="1200">
          <a:solidFill>
            <a:schemeClr val="tx2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0" indent="0" algn="l" defTabSz="914332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Font typeface="Wingdings" pitchFamily="2" charset="2"/>
        <a:buNone/>
        <a:defRPr sz="1867" kern="1200">
          <a:solidFill>
            <a:schemeClr val="bg1"/>
          </a:solidFill>
          <a:latin typeface="RR Pioneer" panose="020B0503050201040103" pitchFamily="34" charset="0"/>
          <a:ea typeface="+mn-ea"/>
          <a:cs typeface="+mn-cs"/>
        </a:defRPr>
      </a:lvl1pPr>
      <a:lvl2pPr marL="234933" indent="-234933" algn="l" defTabSz="914332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Font typeface="Wingdings" pitchFamily="2" charset="2"/>
        <a:buChar char="§"/>
        <a:tabLst/>
        <a:defRPr sz="1867" kern="1200">
          <a:solidFill>
            <a:schemeClr val="bg1"/>
          </a:solidFill>
          <a:latin typeface="RR Pioneer" panose="020B0503050201040103" pitchFamily="34" charset="0"/>
          <a:ea typeface="+mn-ea"/>
          <a:cs typeface="+mn-cs"/>
        </a:defRPr>
      </a:lvl2pPr>
      <a:lvl3pPr marL="482564" indent="-241283" algn="l" defTabSz="914332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itchFamily="2" charset="2"/>
        <a:buChar char="§"/>
        <a:defRPr sz="1600" kern="1200">
          <a:solidFill>
            <a:schemeClr val="bg1"/>
          </a:solidFill>
          <a:latin typeface="RR Pioneer" panose="020B0503050201040103" pitchFamily="34" charset="0"/>
          <a:ea typeface="+mn-ea"/>
          <a:cs typeface="+mn-cs"/>
        </a:defRPr>
      </a:lvl3pPr>
      <a:lvl4pPr marL="723847" indent="-241283" algn="l" defTabSz="914332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itchFamily="2" charset="2"/>
        <a:buChar char="§"/>
        <a:defRPr sz="1333" kern="1200">
          <a:solidFill>
            <a:schemeClr val="bg1"/>
          </a:solidFill>
          <a:latin typeface="RR Pioneer" panose="020B0503050201040103" pitchFamily="34" charset="0"/>
          <a:ea typeface="+mn-ea"/>
          <a:cs typeface="+mn-cs"/>
        </a:defRPr>
      </a:lvl4pPr>
      <a:lvl5pPr marL="950312" indent="-226468" algn="l" defTabSz="914332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itchFamily="2" charset="2"/>
        <a:buChar char="§"/>
        <a:defRPr sz="1333" kern="1200">
          <a:solidFill>
            <a:schemeClr val="bg1"/>
          </a:solidFill>
          <a:latin typeface="RR Pioneer" panose="020B0503050201040103" pitchFamily="34" charset="0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3">
          <p15:clr>
            <a:srgbClr val="F26B43"/>
          </p15:clr>
        </p15:guide>
        <p15:guide id="2" orient="horz" pos="3094">
          <p15:clr>
            <a:srgbClr val="F26B43"/>
          </p15:clr>
        </p15:guide>
        <p15:guide id="3" pos="2880">
          <p15:clr>
            <a:srgbClr val="F26B43"/>
          </p15:clr>
        </p15:guide>
        <p15:guide id="4" orient="horz" pos="1620">
          <p15:clr>
            <a:srgbClr val="F26B43"/>
          </p15:clr>
        </p15:guide>
        <p15:guide id="5" orient="horz" pos="146">
          <p15:clr>
            <a:srgbClr val="F26B43"/>
          </p15:clr>
        </p15:guide>
        <p15:guide id="6" orient="horz" pos="237">
          <p15:clr>
            <a:srgbClr val="F26B43"/>
          </p15:clr>
        </p15:guide>
        <p15:guide id="7" pos="1429">
          <p15:clr>
            <a:srgbClr val="F26B43"/>
          </p15:clr>
        </p15:guide>
        <p15:guide id="8" pos="204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2913">
          <p15:clr>
            <a:srgbClr val="F26B43"/>
          </p15:clr>
        </p15:guide>
        <p15:guide id="11" orient="horz" pos="2550">
          <p15:clr>
            <a:srgbClr val="F26B43"/>
          </p15:clr>
        </p15:guide>
        <p15:guide id="12" pos="1723">
          <p15:clr>
            <a:srgbClr val="F26B43"/>
          </p15:clr>
        </p15:guide>
        <p15:guide id="13" orient="horz" pos="63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33D9988-1ED9-42AC-9D2B-63F85F765A3A}"/>
              </a:ext>
            </a:extLst>
          </p:cNvPr>
          <p:cNvSpPr/>
          <p:nvPr userDrawn="1"/>
        </p:nvSpPr>
        <p:spPr>
          <a:xfrm>
            <a:off x="3024721" y="0"/>
            <a:ext cx="9167281" cy="6858000"/>
          </a:xfrm>
          <a:prstGeom prst="rect">
            <a:avLst/>
          </a:prstGeom>
          <a:solidFill>
            <a:srgbClr val="EFEF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272E75-62DA-405E-B740-2165DB3E67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1" y="1329576"/>
            <a:ext cx="2380800" cy="1161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5C20BC-7267-4214-A72D-8EA5AD8F7E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48000" y="1315200"/>
            <a:ext cx="8112000" cy="46944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D45418-82B1-4BC8-A729-E90C1FD3E6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00936" y="6307200"/>
            <a:ext cx="759064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lang="en-GB" sz="933" kern="1200" smtClean="0">
                <a:solidFill>
                  <a:srgbClr val="666666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</a:lstStyle>
          <a:p>
            <a:fld id="{0CE01D83-C165-4FE9-B06D-B834BF6F363F}" type="datetime1">
              <a:rPr lang="en-GB" smtClean="0"/>
              <a:t>23/03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C8F470-21F2-4F63-BB0C-454CBC04CB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3601" y="6273600"/>
            <a:ext cx="2164800" cy="38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33">
                <a:solidFill>
                  <a:srgbClr val="666666"/>
                </a:solidFill>
                <a:latin typeface="RR Pioneer Light Condensed" panose="020B0306050201060103" pitchFamily="34" charset="0"/>
              </a:defRPr>
            </a:lvl1pPr>
          </a:lstStyle>
          <a:p>
            <a:r>
              <a:rPr lang="en-GB"/>
              <a:t>Private | © 2020 Rolls-Royce | Not Subject to Export Control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56A3FD-1372-44B2-B6D5-108E5AA818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32001" y="6307200"/>
            <a:ext cx="264000" cy="312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  <a:latin typeface="+mj-lt"/>
              </a:defRPr>
            </a:lvl1pPr>
          </a:lstStyle>
          <a:p>
            <a:fld id="{6F59B429-512E-4592-B480-D2818264A486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330ADF3-D781-4759-A78E-7465A89B4271}"/>
              </a:ext>
            </a:extLst>
          </p:cNvPr>
          <p:cNvGrpSpPr/>
          <p:nvPr userDrawn="1"/>
        </p:nvGrpSpPr>
        <p:grpSpPr>
          <a:xfrm>
            <a:off x="431803" y="311150"/>
            <a:ext cx="428347" cy="696421"/>
            <a:chOff x="-3513606" y="270529"/>
            <a:chExt cx="1671638" cy="2717801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3D988948-DE37-43C6-890E-5A4406055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-3499318" y="286404"/>
              <a:ext cx="1646238" cy="2689225"/>
            </a:xfrm>
            <a:custGeom>
              <a:avLst/>
              <a:gdLst>
                <a:gd name="T0" fmla="*/ 0 w 686"/>
                <a:gd name="T1" fmla="*/ 78 h 1123"/>
                <a:gd name="T2" fmla="*/ 77 w 686"/>
                <a:gd name="T3" fmla="*/ 0 h 1123"/>
                <a:gd name="T4" fmla="*/ 609 w 686"/>
                <a:gd name="T5" fmla="*/ 0 h 1123"/>
                <a:gd name="T6" fmla="*/ 686 w 686"/>
                <a:gd name="T7" fmla="*/ 78 h 1123"/>
                <a:gd name="T8" fmla="*/ 686 w 686"/>
                <a:gd name="T9" fmla="*/ 1045 h 1123"/>
                <a:gd name="T10" fmla="*/ 609 w 686"/>
                <a:gd name="T11" fmla="*/ 1123 h 1123"/>
                <a:gd name="T12" fmla="*/ 77 w 686"/>
                <a:gd name="T13" fmla="*/ 1123 h 1123"/>
                <a:gd name="T14" fmla="*/ 0 w 686"/>
                <a:gd name="T15" fmla="*/ 1045 h 1123"/>
                <a:gd name="T16" fmla="*/ 0 w 686"/>
                <a:gd name="T17" fmla="*/ 78 h 1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6" h="1123">
                  <a:moveTo>
                    <a:pt x="0" y="78"/>
                  </a:moveTo>
                  <a:cubicBezTo>
                    <a:pt x="0" y="35"/>
                    <a:pt x="34" y="0"/>
                    <a:pt x="77" y="0"/>
                  </a:cubicBezTo>
                  <a:cubicBezTo>
                    <a:pt x="609" y="0"/>
                    <a:pt x="609" y="0"/>
                    <a:pt x="609" y="0"/>
                  </a:cubicBezTo>
                  <a:cubicBezTo>
                    <a:pt x="651" y="0"/>
                    <a:pt x="686" y="35"/>
                    <a:pt x="686" y="78"/>
                  </a:cubicBezTo>
                  <a:cubicBezTo>
                    <a:pt x="686" y="1045"/>
                    <a:pt x="686" y="1045"/>
                    <a:pt x="686" y="1045"/>
                  </a:cubicBezTo>
                  <a:cubicBezTo>
                    <a:pt x="686" y="1088"/>
                    <a:pt x="651" y="1123"/>
                    <a:pt x="609" y="1123"/>
                  </a:cubicBezTo>
                  <a:cubicBezTo>
                    <a:pt x="77" y="1123"/>
                    <a:pt x="77" y="1123"/>
                    <a:pt x="77" y="1123"/>
                  </a:cubicBezTo>
                  <a:cubicBezTo>
                    <a:pt x="34" y="1123"/>
                    <a:pt x="0" y="1088"/>
                    <a:pt x="0" y="1045"/>
                  </a:cubicBezTo>
                  <a:lnTo>
                    <a:pt x="0" y="7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A7CA9A4D-29DD-4E11-AD7F-C2EBAB2B72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513606" y="270529"/>
              <a:ext cx="1671638" cy="2717801"/>
            </a:xfrm>
            <a:custGeom>
              <a:avLst/>
              <a:gdLst>
                <a:gd name="T0" fmla="*/ 658 w 697"/>
                <a:gd name="T1" fmla="*/ 79 h 1134"/>
                <a:gd name="T2" fmla="*/ 658 w 697"/>
                <a:gd name="T3" fmla="*/ 200 h 1134"/>
                <a:gd name="T4" fmla="*/ 40 w 697"/>
                <a:gd name="T5" fmla="*/ 200 h 1134"/>
                <a:gd name="T6" fmla="*/ 40 w 697"/>
                <a:gd name="T7" fmla="*/ 79 h 1134"/>
                <a:gd name="T8" fmla="*/ 79 w 697"/>
                <a:gd name="T9" fmla="*/ 40 h 1134"/>
                <a:gd name="T10" fmla="*/ 619 w 697"/>
                <a:gd name="T11" fmla="*/ 40 h 1134"/>
                <a:gd name="T12" fmla="*/ 658 w 697"/>
                <a:gd name="T13" fmla="*/ 79 h 1134"/>
                <a:gd name="T14" fmla="*/ 40 w 697"/>
                <a:gd name="T15" fmla="*/ 1056 h 1134"/>
                <a:gd name="T16" fmla="*/ 79 w 697"/>
                <a:gd name="T17" fmla="*/ 1095 h 1134"/>
                <a:gd name="T18" fmla="*/ 619 w 697"/>
                <a:gd name="T19" fmla="*/ 1095 h 1134"/>
                <a:gd name="T20" fmla="*/ 658 w 697"/>
                <a:gd name="T21" fmla="*/ 1056 h 1134"/>
                <a:gd name="T22" fmla="*/ 658 w 697"/>
                <a:gd name="T23" fmla="*/ 935 h 1134"/>
                <a:gd name="T24" fmla="*/ 40 w 697"/>
                <a:gd name="T25" fmla="*/ 935 h 1134"/>
                <a:gd name="T26" fmla="*/ 40 w 697"/>
                <a:gd name="T27" fmla="*/ 1056 h 1134"/>
                <a:gd name="T28" fmla="*/ 40 w 697"/>
                <a:gd name="T29" fmla="*/ 918 h 1134"/>
                <a:gd name="T30" fmla="*/ 658 w 697"/>
                <a:gd name="T31" fmla="*/ 918 h 1134"/>
                <a:gd name="T32" fmla="*/ 658 w 697"/>
                <a:gd name="T33" fmla="*/ 217 h 1134"/>
                <a:gd name="T34" fmla="*/ 40 w 697"/>
                <a:gd name="T35" fmla="*/ 217 h 1134"/>
                <a:gd name="T36" fmla="*/ 40 w 697"/>
                <a:gd name="T37" fmla="*/ 918 h 1134"/>
                <a:gd name="T38" fmla="*/ 697 w 697"/>
                <a:gd name="T39" fmla="*/ 79 h 1134"/>
                <a:gd name="T40" fmla="*/ 697 w 697"/>
                <a:gd name="T41" fmla="*/ 1056 h 1134"/>
                <a:gd name="T42" fmla="*/ 619 w 697"/>
                <a:gd name="T43" fmla="*/ 1134 h 1134"/>
                <a:gd name="T44" fmla="*/ 79 w 697"/>
                <a:gd name="T45" fmla="*/ 1134 h 1134"/>
                <a:gd name="T46" fmla="*/ 0 w 697"/>
                <a:gd name="T47" fmla="*/ 1056 h 1134"/>
                <a:gd name="T48" fmla="*/ 0 w 697"/>
                <a:gd name="T49" fmla="*/ 79 h 1134"/>
                <a:gd name="T50" fmla="*/ 79 w 697"/>
                <a:gd name="T51" fmla="*/ 0 h 1134"/>
                <a:gd name="T52" fmla="*/ 619 w 697"/>
                <a:gd name="T53" fmla="*/ 0 h 1134"/>
                <a:gd name="T54" fmla="*/ 697 w 697"/>
                <a:gd name="T55" fmla="*/ 79 h 1134"/>
                <a:gd name="T56" fmla="*/ 675 w 697"/>
                <a:gd name="T57" fmla="*/ 79 h 1134"/>
                <a:gd name="T58" fmla="*/ 619 w 697"/>
                <a:gd name="T59" fmla="*/ 23 h 1134"/>
                <a:gd name="T60" fmla="*/ 79 w 697"/>
                <a:gd name="T61" fmla="*/ 23 h 1134"/>
                <a:gd name="T62" fmla="*/ 23 w 697"/>
                <a:gd name="T63" fmla="*/ 79 h 1134"/>
                <a:gd name="T64" fmla="*/ 23 w 697"/>
                <a:gd name="T65" fmla="*/ 1056 h 1134"/>
                <a:gd name="T66" fmla="*/ 79 w 697"/>
                <a:gd name="T67" fmla="*/ 1112 h 1134"/>
                <a:gd name="T68" fmla="*/ 619 w 697"/>
                <a:gd name="T69" fmla="*/ 1112 h 1134"/>
                <a:gd name="T70" fmla="*/ 675 w 697"/>
                <a:gd name="T71" fmla="*/ 1056 h 1134"/>
                <a:gd name="T72" fmla="*/ 675 w 697"/>
                <a:gd name="T73" fmla="*/ 79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97" h="1134">
                  <a:moveTo>
                    <a:pt x="658" y="79"/>
                  </a:moveTo>
                  <a:cubicBezTo>
                    <a:pt x="658" y="200"/>
                    <a:pt x="658" y="200"/>
                    <a:pt x="658" y="200"/>
                  </a:cubicBezTo>
                  <a:cubicBezTo>
                    <a:pt x="40" y="200"/>
                    <a:pt x="40" y="200"/>
                    <a:pt x="40" y="200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57"/>
                    <a:pt x="57" y="40"/>
                    <a:pt x="79" y="40"/>
                  </a:cubicBezTo>
                  <a:cubicBezTo>
                    <a:pt x="619" y="40"/>
                    <a:pt x="619" y="40"/>
                    <a:pt x="619" y="40"/>
                  </a:cubicBezTo>
                  <a:cubicBezTo>
                    <a:pt x="641" y="40"/>
                    <a:pt x="658" y="57"/>
                    <a:pt x="658" y="79"/>
                  </a:cubicBezTo>
                  <a:close/>
                  <a:moveTo>
                    <a:pt x="40" y="1056"/>
                  </a:moveTo>
                  <a:cubicBezTo>
                    <a:pt x="40" y="1078"/>
                    <a:pt x="57" y="1095"/>
                    <a:pt x="79" y="1095"/>
                  </a:cubicBezTo>
                  <a:cubicBezTo>
                    <a:pt x="619" y="1095"/>
                    <a:pt x="619" y="1095"/>
                    <a:pt x="619" y="1095"/>
                  </a:cubicBezTo>
                  <a:cubicBezTo>
                    <a:pt x="641" y="1095"/>
                    <a:pt x="658" y="1078"/>
                    <a:pt x="658" y="1056"/>
                  </a:cubicBezTo>
                  <a:cubicBezTo>
                    <a:pt x="658" y="935"/>
                    <a:pt x="658" y="935"/>
                    <a:pt x="658" y="935"/>
                  </a:cubicBezTo>
                  <a:cubicBezTo>
                    <a:pt x="40" y="935"/>
                    <a:pt x="40" y="935"/>
                    <a:pt x="40" y="935"/>
                  </a:cubicBezTo>
                  <a:lnTo>
                    <a:pt x="40" y="1056"/>
                  </a:lnTo>
                  <a:close/>
                  <a:moveTo>
                    <a:pt x="40" y="918"/>
                  </a:moveTo>
                  <a:cubicBezTo>
                    <a:pt x="658" y="918"/>
                    <a:pt x="658" y="918"/>
                    <a:pt x="658" y="918"/>
                  </a:cubicBezTo>
                  <a:cubicBezTo>
                    <a:pt x="658" y="217"/>
                    <a:pt x="658" y="217"/>
                    <a:pt x="658" y="217"/>
                  </a:cubicBezTo>
                  <a:cubicBezTo>
                    <a:pt x="40" y="217"/>
                    <a:pt x="40" y="217"/>
                    <a:pt x="40" y="217"/>
                  </a:cubicBezTo>
                  <a:lnTo>
                    <a:pt x="40" y="918"/>
                  </a:lnTo>
                  <a:close/>
                  <a:moveTo>
                    <a:pt x="697" y="79"/>
                  </a:moveTo>
                  <a:cubicBezTo>
                    <a:pt x="697" y="1056"/>
                    <a:pt x="697" y="1056"/>
                    <a:pt x="697" y="1056"/>
                  </a:cubicBezTo>
                  <a:cubicBezTo>
                    <a:pt x="697" y="1099"/>
                    <a:pt x="662" y="1134"/>
                    <a:pt x="619" y="1134"/>
                  </a:cubicBezTo>
                  <a:cubicBezTo>
                    <a:pt x="79" y="1134"/>
                    <a:pt x="79" y="1134"/>
                    <a:pt x="79" y="1134"/>
                  </a:cubicBezTo>
                  <a:cubicBezTo>
                    <a:pt x="36" y="1134"/>
                    <a:pt x="0" y="1099"/>
                    <a:pt x="0" y="105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0" y="36"/>
                    <a:pt x="36" y="0"/>
                    <a:pt x="79" y="0"/>
                  </a:cubicBezTo>
                  <a:cubicBezTo>
                    <a:pt x="619" y="0"/>
                    <a:pt x="619" y="0"/>
                    <a:pt x="619" y="0"/>
                  </a:cubicBezTo>
                  <a:cubicBezTo>
                    <a:pt x="662" y="0"/>
                    <a:pt x="697" y="36"/>
                    <a:pt x="697" y="79"/>
                  </a:cubicBezTo>
                  <a:close/>
                  <a:moveTo>
                    <a:pt x="675" y="79"/>
                  </a:moveTo>
                  <a:cubicBezTo>
                    <a:pt x="675" y="48"/>
                    <a:pt x="650" y="23"/>
                    <a:pt x="61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48" y="23"/>
                    <a:pt x="23" y="48"/>
                    <a:pt x="23" y="79"/>
                  </a:cubicBezTo>
                  <a:cubicBezTo>
                    <a:pt x="23" y="1056"/>
                    <a:pt x="23" y="1056"/>
                    <a:pt x="23" y="1056"/>
                  </a:cubicBezTo>
                  <a:cubicBezTo>
                    <a:pt x="23" y="1087"/>
                    <a:pt x="48" y="1112"/>
                    <a:pt x="79" y="1112"/>
                  </a:cubicBezTo>
                  <a:cubicBezTo>
                    <a:pt x="619" y="1112"/>
                    <a:pt x="619" y="1112"/>
                    <a:pt x="619" y="1112"/>
                  </a:cubicBezTo>
                  <a:cubicBezTo>
                    <a:pt x="650" y="1112"/>
                    <a:pt x="675" y="1087"/>
                    <a:pt x="675" y="1056"/>
                  </a:cubicBezTo>
                  <a:lnTo>
                    <a:pt x="675" y="79"/>
                  </a:lnTo>
                  <a:close/>
                </a:path>
              </a:pathLst>
            </a:custGeom>
            <a:solidFill>
              <a:srgbClr val="1006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Freeform 7">
              <a:extLst>
                <a:ext uri="{FF2B5EF4-FFF2-40B4-BE49-F238E27FC236}">
                  <a16:creationId xmlns:a16="http://schemas.microsoft.com/office/drawing/2014/main" id="{D7A670E1-E298-4BE4-B806-08325AF5DE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-3289768" y="441979"/>
              <a:ext cx="1236663" cy="2378075"/>
            </a:xfrm>
            <a:custGeom>
              <a:avLst/>
              <a:gdLst>
                <a:gd name="T0" fmla="*/ 505 w 516"/>
                <a:gd name="T1" fmla="*/ 950 h 993"/>
                <a:gd name="T2" fmla="*/ 516 w 516"/>
                <a:gd name="T3" fmla="*/ 991 h 993"/>
                <a:gd name="T4" fmla="*/ 516 w 516"/>
                <a:gd name="T5" fmla="*/ 913 h 993"/>
                <a:gd name="T6" fmla="*/ 398 w 516"/>
                <a:gd name="T7" fmla="*/ 929 h 993"/>
                <a:gd name="T8" fmla="*/ 374 w 516"/>
                <a:gd name="T9" fmla="*/ 896 h 993"/>
                <a:gd name="T10" fmla="*/ 414 w 516"/>
                <a:gd name="T11" fmla="*/ 969 h 993"/>
                <a:gd name="T12" fmla="*/ 374 w 516"/>
                <a:gd name="T13" fmla="*/ 977 h 993"/>
                <a:gd name="T14" fmla="*/ 246 w 516"/>
                <a:gd name="T15" fmla="*/ 897 h 993"/>
                <a:gd name="T16" fmla="*/ 255 w 516"/>
                <a:gd name="T17" fmla="*/ 991 h 993"/>
                <a:gd name="T18" fmla="*/ 306 w 516"/>
                <a:gd name="T19" fmla="*/ 896 h 993"/>
                <a:gd name="T20" fmla="*/ 152 w 516"/>
                <a:gd name="T21" fmla="*/ 993 h 993"/>
                <a:gd name="T22" fmla="*/ 180 w 516"/>
                <a:gd name="T23" fmla="*/ 944 h 993"/>
                <a:gd name="T24" fmla="*/ 180 w 516"/>
                <a:gd name="T25" fmla="*/ 944 h 993"/>
                <a:gd name="T26" fmla="*/ 55 w 516"/>
                <a:gd name="T27" fmla="*/ 991 h 993"/>
                <a:gd name="T28" fmla="*/ 19 w 516"/>
                <a:gd name="T29" fmla="*/ 952 h 993"/>
                <a:gd name="T30" fmla="*/ 41 w 516"/>
                <a:gd name="T31" fmla="*/ 896 h 993"/>
                <a:gd name="T32" fmla="*/ 54 w 516"/>
                <a:gd name="T33" fmla="*/ 945 h 993"/>
                <a:gd name="T34" fmla="*/ 51 w 516"/>
                <a:gd name="T35" fmla="*/ 924 h 993"/>
                <a:gd name="T36" fmla="*/ 38 w 516"/>
                <a:gd name="T37" fmla="*/ 936 h 993"/>
                <a:gd name="T38" fmla="*/ 133 w 516"/>
                <a:gd name="T39" fmla="*/ 288 h 993"/>
                <a:gd name="T40" fmla="*/ 211 w 516"/>
                <a:gd name="T41" fmla="*/ 309 h 993"/>
                <a:gd name="T42" fmla="*/ 236 w 516"/>
                <a:gd name="T43" fmla="*/ 546 h 993"/>
                <a:gd name="T44" fmla="*/ 160 w 516"/>
                <a:gd name="T45" fmla="*/ 515 h 993"/>
                <a:gd name="T46" fmla="*/ 134 w 516"/>
                <a:gd name="T47" fmla="*/ 786 h 993"/>
                <a:gd name="T48" fmla="*/ 211 w 516"/>
                <a:gd name="T49" fmla="*/ 571 h 993"/>
                <a:gd name="T50" fmla="*/ 378 w 516"/>
                <a:gd name="T51" fmla="*/ 330 h 993"/>
                <a:gd name="T52" fmla="*/ 336 w 516"/>
                <a:gd name="T53" fmla="*/ 556 h 993"/>
                <a:gd name="T54" fmla="*/ 408 w 516"/>
                <a:gd name="T55" fmla="*/ 751 h 993"/>
                <a:gd name="T56" fmla="*/ 391 w 516"/>
                <a:gd name="T57" fmla="*/ 779 h 993"/>
                <a:gd name="T58" fmla="*/ 461 w 516"/>
                <a:gd name="T59" fmla="*/ 734 h 993"/>
                <a:gd name="T60" fmla="*/ 374 w 516"/>
                <a:gd name="T61" fmla="*/ 543 h 993"/>
                <a:gd name="T62" fmla="*/ 470 w 516"/>
                <a:gd name="T63" fmla="*/ 412 h 993"/>
                <a:gd name="T64" fmla="*/ 295 w 516"/>
                <a:gd name="T65" fmla="*/ 237 h 993"/>
                <a:gd name="T66" fmla="*/ 260 w 516"/>
                <a:gd name="T67" fmla="*/ 468 h 993"/>
                <a:gd name="T68" fmla="*/ 340 w 516"/>
                <a:gd name="T69" fmla="*/ 657 h 993"/>
                <a:gd name="T70" fmla="*/ 271 w 516"/>
                <a:gd name="T71" fmla="*/ 714 h 993"/>
                <a:gd name="T72" fmla="*/ 289 w 516"/>
                <a:gd name="T73" fmla="*/ 680 h 993"/>
                <a:gd name="T74" fmla="*/ 220 w 516"/>
                <a:gd name="T75" fmla="*/ 484 h 993"/>
                <a:gd name="T76" fmla="*/ 92 w 516"/>
                <a:gd name="T77" fmla="*/ 666 h 993"/>
                <a:gd name="T78" fmla="*/ 15 w 516"/>
                <a:gd name="T79" fmla="*/ 706 h 993"/>
                <a:gd name="T80" fmla="*/ 14 w 516"/>
                <a:gd name="T81" fmla="*/ 215 h 993"/>
                <a:gd name="T82" fmla="*/ 298 w 516"/>
                <a:gd name="T83" fmla="*/ 340 h 993"/>
                <a:gd name="T84" fmla="*/ 92 w 516"/>
                <a:gd name="T85" fmla="*/ 474 h 993"/>
                <a:gd name="T86" fmla="*/ 157 w 516"/>
                <a:gd name="T87" fmla="*/ 0 h 993"/>
                <a:gd name="T88" fmla="*/ 129 w 516"/>
                <a:gd name="T89" fmla="*/ 49 h 993"/>
                <a:gd name="T90" fmla="*/ 129 w 516"/>
                <a:gd name="T91" fmla="*/ 49 h 993"/>
                <a:gd name="T92" fmla="*/ 247 w 516"/>
                <a:gd name="T93" fmla="*/ 1 h 993"/>
                <a:gd name="T94" fmla="*/ 411 w 516"/>
                <a:gd name="T95" fmla="*/ 80 h 993"/>
                <a:gd name="T96" fmla="*/ 348 w 516"/>
                <a:gd name="T97" fmla="*/ 96 h 993"/>
                <a:gd name="T98" fmla="*/ 4 w 516"/>
                <a:gd name="T99" fmla="*/ 96 h 993"/>
                <a:gd name="T100" fmla="*/ 58 w 516"/>
                <a:gd name="T101" fmla="*/ 49 h 993"/>
                <a:gd name="T102" fmla="*/ 73 w 516"/>
                <a:gd name="T103" fmla="*/ 85 h 993"/>
                <a:gd name="T104" fmla="*/ 59 w 516"/>
                <a:gd name="T105" fmla="*/ 96 h 993"/>
                <a:gd name="T106" fmla="*/ 23 w 516"/>
                <a:gd name="T107" fmla="*/ 56 h 993"/>
                <a:gd name="T108" fmla="*/ 54 w 516"/>
                <a:gd name="T109" fmla="*/ 29 h 993"/>
                <a:gd name="T110" fmla="*/ 477 w 516"/>
                <a:gd name="T111" fmla="*/ 81 h 993"/>
                <a:gd name="T112" fmla="*/ 443 w 516"/>
                <a:gd name="T113" fmla="*/ 85 h 993"/>
                <a:gd name="T114" fmla="*/ 464 w 516"/>
                <a:gd name="T115" fmla="*/ 25 h 993"/>
                <a:gd name="T116" fmla="*/ 504 w 516"/>
                <a:gd name="T117" fmla="*/ 8 h 993"/>
                <a:gd name="T118" fmla="*/ 472 w 516"/>
                <a:gd name="T119" fmla="*/ 54 h 9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16" h="993">
                  <a:moveTo>
                    <a:pt x="473" y="913"/>
                  </a:moveTo>
                  <a:cubicBezTo>
                    <a:pt x="473" y="934"/>
                    <a:pt x="473" y="934"/>
                    <a:pt x="473" y="934"/>
                  </a:cubicBezTo>
                  <a:cubicBezTo>
                    <a:pt x="505" y="934"/>
                    <a:pt x="505" y="934"/>
                    <a:pt x="505" y="934"/>
                  </a:cubicBezTo>
                  <a:cubicBezTo>
                    <a:pt x="505" y="950"/>
                    <a:pt x="505" y="950"/>
                    <a:pt x="505" y="950"/>
                  </a:cubicBezTo>
                  <a:cubicBezTo>
                    <a:pt x="473" y="950"/>
                    <a:pt x="473" y="950"/>
                    <a:pt x="473" y="950"/>
                  </a:cubicBezTo>
                  <a:cubicBezTo>
                    <a:pt x="473" y="975"/>
                    <a:pt x="473" y="975"/>
                    <a:pt x="473" y="975"/>
                  </a:cubicBezTo>
                  <a:cubicBezTo>
                    <a:pt x="516" y="975"/>
                    <a:pt x="516" y="975"/>
                    <a:pt x="516" y="975"/>
                  </a:cubicBezTo>
                  <a:cubicBezTo>
                    <a:pt x="516" y="991"/>
                    <a:pt x="516" y="991"/>
                    <a:pt x="516" y="991"/>
                  </a:cubicBezTo>
                  <a:cubicBezTo>
                    <a:pt x="454" y="991"/>
                    <a:pt x="454" y="991"/>
                    <a:pt x="454" y="991"/>
                  </a:cubicBezTo>
                  <a:cubicBezTo>
                    <a:pt x="454" y="896"/>
                    <a:pt x="454" y="896"/>
                    <a:pt x="454" y="896"/>
                  </a:cubicBezTo>
                  <a:cubicBezTo>
                    <a:pt x="516" y="896"/>
                    <a:pt x="516" y="896"/>
                    <a:pt x="516" y="896"/>
                  </a:cubicBezTo>
                  <a:cubicBezTo>
                    <a:pt x="516" y="913"/>
                    <a:pt x="516" y="913"/>
                    <a:pt x="516" y="913"/>
                  </a:cubicBezTo>
                  <a:lnTo>
                    <a:pt x="473" y="913"/>
                  </a:lnTo>
                  <a:close/>
                  <a:moveTo>
                    <a:pt x="374" y="912"/>
                  </a:moveTo>
                  <a:cubicBezTo>
                    <a:pt x="386" y="912"/>
                    <a:pt x="394" y="917"/>
                    <a:pt x="398" y="928"/>
                  </a:cubicBezTo>
                  <a:cubicBezTo>
                    <a:pt x="398" y="929"/>
                    <a:pt x="398" y="929"/>
                    <a:pt x="398" y="929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14" y="922"/>
                    <a:pt x="414" y="922"/>
                    <a:pt x="414" y="922"/>
                  </a:cubicBezTo>
                  <a:cubicBezTo>
                    <a:pt x="408" y="905"/>
                    <a:pt x="394" y="896"/>
                    <a:pt x="374" y="896"/>
                  </a:cubicBezTo>
                  <a:cubicBezTo>
                    <a:pt x="346" y="896"/>
                    <a:pt x="327" y="916"/>
                    <a:pt x="327" y="944"/>
                  </a:cubicBezTo>
                  <a:cubicBezTo>
                    <a:pt x="327" y="973"/>
                    <a:pt x="346" y="993"/>
                    <a:pt x="374" y="993"/>
                  </a:cubicBezTo>
                  <a:cubicBezTo>
                    <a:pt x="392" y="993"/>
                    <a:pt x="406" y="984"/>
                    <a:pt x="414" y="969"/>
                  </a:cubicBezTo>
                  <a:cubicBezTo>
                    <a:pt x="414" y="969"/>
                    <a:pt x="414" y="969"/>
                    <a:pt x="414" y="969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8" y="962"/>
                    <a:pt x="398" y="962"/>
                    <a:pt x="398" y="962"/>
                  </a:cubicBezTo>
                  <a:cubicBezTo>
                    <a:pt x="393" y="972"/>
                    <a:pt x="385" y="977"/>
                    <a:pt x="374" y="977"/>
                  </a:cubicBezTo>
                  <a:cubicBezTo>
                    <a:pt x="357" y="977"/>
                    <a:pt x="347" y="965"/>
                    <a:pt x="347" y="944"/>
                  </a:cubicBezTo>
                  <a:cubicBezTo>
                    <a:pt x="347" y="924"/>
                    <a:pt x="357" y="912"/>
                    <a:pt x="374" y="912"/>
                  </a:cubicBezTo>
                  <a:close/>
                  <a:moveTo>
                    <a:pt x="265" y="935"/>
                  </a:moveTo>
                  <a:cubicBezTo>
                    <a:pt x="246" y="897"/>
                    <a:pt x="246" y="897"/>
                    <a:pt x="246" y="897"/>
                  </a:cubicBezTo>
                  <a:cubicBezTo>
                    <a:pt x="246" y="896"/>
                    <a:pt x="246" y="896"/>
                    <a:pt x="246" y="896"/>
                  </a:cubicBezTo>
                  <a:cubicBezTo>
                    <a:pt x="224" y="896"/>
                    <a:pt x="224" y="896"/>
                    <a:pt x="224" y="896"/>
                  </a:cubicBezTo>
                  <a:cubicBezTo>
                    <a:pt x="255" y="956"/>
                    <a:pt x="255" y="956"/>
                    <a:pt x="255" y="956"/>
                  </a:cubicBezTo>
                  <a:cubicBezTo>
                    <a:pt x="255" y="991"/>
                    <a:pt x="255" y="991"/>
                    <a:pt x="255" y="991"/>
                  </a:cubicBezTo>
                  <a:cubicBezTo>
                    <a:pt x="275" y="991"/>
                    <a:pt x="275" y="991"/>
                    <a:pt x="275" y="991"/>
                  </a:cubicBezTo>
                  <a:cubicBezTo>
                    <a:pt x="275" y="955"/>
                    <a:pt x="275" y="955"/>
                    <a:pt x="275" y="955"/>
                  </a:cubicBezTo>
                  <a:cubicBezTo>
                    <a:pt x="305" y="897"/>
                    <a:pt x="305" y="897"/>
                    <a:pt x="305" y="897"/>
                  </a:cubicBezTo>
                  <a:cubicBezTo>
                    <a:pt x="306" y="896"/>
                    <a:pt x="306" y="896"/>
                    <a:pt x="306" y="896"/>
                  </a:cubicBezTo>
                  <a:cubicBezTo>
                    <a:pt x="284" y="896"/>
                    <a:pt x="284" y="896"/>
                    <a:pt x="284" y="896"/>
                  </a:cubicBezTo>
                  <a:lnTo>
                    <a:pt x="265" y="935"/>
                  </a:lnTo>
                  <a:close/>
                  <a:moveTo>
                    <a:pt x="200" y="944"/>
                  </a:moveTo>
                  <a:cubicBezTo>
                    <a:pt x="200" y="973"/>
                    <a:pt x="180" y="993"/>
                    <a:pt x="152" y="993"/>
                  </a:cubicBezTo>
                  <a:cubicBezTo>
                    <a:pt x="124" y="993"/>
                    <a:pt x="104" y="973"/>
                    <a:pt x="104" y="944"/>
                  </a:cubicBezTo>
                  <a:cubicBezTo>
                    <a:pt x="104" y="916"/>
                    <a:pt x="124" y="896"/>
                    <a:pt x="152" y="896"/>
                  </a:cubicBezTo>
                  <a:cubicBezTo>
                    <a:pt x="180" y="896"/>
                    <a:pt x="200" y="916"/>
                    <a:pt x="200" y="944"/>
                  </a:cubicBezTo>
                  <a:close/>
                  <a:moveTo>
                    <a:pt x="180" y="944"/>
                  </a:moveTo>
                  <a:cubicBezTo>
                    <a:pt x="180" y="924"/>
                    <a:pt x="169" y="912"/>
                    <a:pt x="152" y="912"/>
                  </a:cubicBezTo>
                  <a:cubicBezTo>
                    <a:pt x="135" y="912"/>
                    <a:pt x="124" y="924"/>
                    <a:pt x="124" y="944"/>
                  </a:cubicBezTo>
                  <a:cubicBezTo>
                    <a:pt x="124" y="965"/>
                    <a:pt x="135" y="977"/>
                    <a:pt x="152" y="977"/>
                  </a:cubicBezTo>
                  <a:cubicBezTo>
                    <a:pt x="169" y="977"/>
                    <a:pt x="180" y="965"/>
                    <a:pt x="180" y="944"/>
                  </a:cubicBezTo>
                  <a:close/>
                  <a:moveTo>
                    <a:pt x="74" y="990"/>
                  </a:moveTo>
                  <a:cubicBezTo>
                    <a:pt x="75" y="991"/>
                    <a:pt x="75" y="991"/>
                    <a:pt x="7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5" y="991"/>
                    <a:pt x="55" y="991"/>
                    <a:pt x="55" y="991"/>
                  </a:cubicBezTo>
                  <a:cubicBezTo>
                    <a:pt x="53" y="989"/>
                    <a:pt x="51" y="986"/>
                    <a:pt x="50" y="982"/>
                  </a:cubicBezTo>
                  <a:cubicBezTo>
                    <a:pt x="44" y="961"/>
                    <a:pt x="44" y="961"/>
                    <a:pt x="44" y="961"/>
                  </a:cubicBezTo>
                  <a:cubicBezTo>
                    <a:pt x="42" y="954"/>
                    <a:pt x="40" y="952"/>
                    <a:pt x="33" y="952"/>
                  </a:cubicBezTo>
                  <a:cubicBezTo>
                    <a:pt x="19" y="952"/>
                    <a:pt x="19" y="952"/>
                    <a:pt x="19" y="952"/>
                  </a:cubicBezTo>
                  <a:cubicBezTo>
                    <a:pt x="19" y="991"/>
                    <a:pt x="19" y="991"/>
                    <a:pt x="19" y="991"/>
                  </a:cubicBezTo>
                  <a:cubicBezTo>
                    <a:pt x="0" y="991"/>
                    <a:pt x="0" y="991"/>
                    <a:pt x="0" y="991"/>
                  </a:cubicBezTo>
                  <a:cubicBezTo>
                    <a:pt x="0" y="896"/>
                    <a:pt x="0" y="896"/>
                    <a:pt x="0" y="896"/>
                  </a:cubicBezTo>
                  <a:cubicBezTo>
                    <a:pt x="41" y="896"/>
                    <a:pt x="41" y="896"/>
                    <a:pt x="41" y="896"/>
                  </a:cubicBezTo>
                  <a:cubicBezTo>
                    <a:pt x="58" y="896"/>
                    <a:pt x="70" y="907"/>
                    <a:pt x="70" y="922"/>
                  </a:cubicBezTo>
                  <a:cubicBezTo>
                    <a:pt x="70" y="935"/>
                    <a:pt x="62" y="941"/>
                    <a:pt x="54" y="944"/>
                  </a:cubicBezTo>
                  <a:cubicBezTo>
                    <a:pt x="53" y="944"/>
                    <a:pt x="53" y="944"/>
                    <a:pt x="53" y="944"/>
                  </a:cubicBezTo>
                  <a:cubicBezTo>
                    <a:pt x="54" y="945"/>
                    <a:pt x="54" y="945"/>
                    <a:pt x="54" y="945"/>
                  </a:cubicBezTo>
                  <a:cubicBezTo>
                    <a:pt x="58" y="947"/>
                    <a:pt x="61" y="951"/>
                    <a:pt x="63" y="957"/>
                  </a:cubicBezTo>
                  <a:cubicBezTo>
                    <a:pt x="70" y="981"/>
                    <a:pt x="70" y="981"/>
                    <a:pt x="70" y="981"/>
                  </a:cubicBezTo>
                  <a:cubicBezTo>
                    <a:pt x="71" y="984"/>
                    <a:pt x="72" y="987"/>
                    <a:pt x="74" y="990"/>
                  </a:cubicBezTo>
                  <a:close/>
                  <a:moveTo>
                    <a:pt x="51" y="924"/>
                  </a:moveTo>
                  <a:cubicBezTo>
                    <a:pt x="51" y="917"/>
                    <a:pt x="46" y="912"/>
                    <a:pt x="38" y="912"/>
                  </a:cubicBezTo>
                  <a:cubicBezTo>
                    <a:pt x="19" y="912"/>
                    <a:pt x="19" y="912"/>
                    <a:pt x="19" y="912"/>
                  </a:cubicBezTo>
                  <a:cubicBezTo>
                    <a:pt x="19" y="936"/>
                    <a:pt x="19" y="936"/>
                    <a:pt x="19" y="936"/>
                  </a:cubicBezTo>
                  <a:cubicBezTo>
                    <a:pt x="38" y="936"/>
                    <a:pt x="38" y="936"/>
                    <a:pt x="38" y="936"/>
                  </a:cubicBezTo>
                  <a:cubicBezTo>
                    <a:pt x="46" y="936"/>
                    <a:pt x="51" y="932"/>
                    <a:pt x="51" y="924"/>
                  </a:cubicBezTo>
                  <a:close/>
                  <a:moveTo>
                    <a:pt x="255" y="280"/>
                  </a:moveTo>
                  <a:cubicBezTo>
                    <a:pt x="133" y="280"/>
                    <a:pt x="133" y="280"/>
                    <a:pt x="133" y="280"/>
                  </a:cubicBezTo>
                  <a:cubicBezTo>
                    <a:pt x="133" y="288"/>
                    <a:pt x="133" y="288"/>
                    <a:pt x="133" y="288"/>
                  </a:cubicBezTo>
                  <a:cubicBezTo>
                    <a:pt x="151" y="293"/>
                    <a:pt x="159" y="306"/>
                    <a:pt x="160" y="329"/>
                  </a:cubicBezTo>
                  <a:cubicBezTo>
                    <a:pt x="160" y="331"/>
                    <a:pt x="160" y="385"/>
                    <a:pt x="160" y="449"/>
                  </a:cubicBezTo>
                  <a:cubicBezTo>
                    <a:pt x="185" y="445"/>
                    <a:pt x="203" y="437"/>
                    <a:pt x="211" y="433"/>
                  </a:cubicBezTo>
                  <a:cubicBezTo>
                    <a:pt x="211" y="309"/>
                    <a:pt x="211" y="309"/>
                    <a:pt x="211" y="309"/>
                  </a:cubicBezTo>
                  <a:cubicBezTo>
                    <a:pt x="273" y="309"/>
                    <a:pt x="273" y="309"/>
                    <a:pt x="273" y="309"/>
                  </a:cubicBezTo>
                  <a:cubicBezTo>
                    <a:pt x="269" y="296"/>
                    <a:pt x="259" y="284"/>
                    <a:pt x="255" y="280"/>
                  </a:cubicBezTo>
                  <a:close/>
                  <a:moveTo>
                    <a:pt x="247" y="570"/>
                  </a:moveTo>
                  <a:cubicBezTo>
                    <a:pt x="244" y="562"/>
                    <a:pt x="239" y="551"/>
                    <a:pt x="236" y="546"/>
                  </a:cubicBezTo>
                  <a:cubicBezTo>
                    <a:pt x="230" y="546"/>
                    <a:pt x="222" y="546"/>
                    <a:pt x="216" y="546"/>
                  </a:cubicBezTo>
                  <a:cubicBezTo>
                    <a:pt x="211" y="546"/>
                    <a:pt x="211" y="546"/>
                    <a:pt x="211" y="546"/>
                  </a:cubicBezTo>
                  <a:cubicBezTo>
                    <a:pt x="211" y="506"/>
                    <a:pt x="211" y="506"/>
                    <a:pt x="211" y="506"/>
                  </a:cubicBezTo>
                  <a:cubicBezTo>
                    <a:pt x="200" y="509"/>
                    <a:pt x="172" y="513"/>
                    <a:pt x="160" y="515"/>
                  </a:cubicBezTo>
                  <a:cubicBezTo>
                    <a:pt x="160" y="621"/>
                    <a:pt x="160" y="736"/>
                    <a:pt x="160" y="738"/>
                  </a:cubicBezTo>
                  <a:cubicBezTo>
                    <a:pt x="160" y="738"/>
                    <a:pt x="160" y="738"/>
                    <a:pt x="160" y="738"/>
                  </a:cubicBezTo>
                  <a:cubicBezTo>
                    <a:pt x="159" y="760"/>
                    <a:pt x="150" y="773"/>
                    <a:pt x="134" y="778"/>
                  </a:cubicBezTo>
                  <a:cubicBezTo>
                    <a:pt x="134" y="786"/>
                    <a:pt x="134" y="786"/>
                    <a:pt x="134" y="786"/>
                  </a:cubicBezTo>
                  <a:cubicBezTo>
                    <a:pt x="237" y="786"/>
                    <a:pt x="237" y="786"/>
                    <a:pt x="237" y="786"/>
                  </a:cubicBezTo>
                  <a:cubicBezTo>
                    <a:pt x="237" y="778"/>
                    <a:pt x="237" y="778"/>
                    <a:pt x="237" y="778"/>
                  </a:cubicBezTo>
                  <a:cubicBezTo>
                    <a:pt x="221" y="773"/>
                    <a:pt x="212" y="759"/>
                    <a:pt x="212" y="738"/>
                  </a:cubicBezTo>
                  <a:cubicBezTo>
                    <a:pt x="211" y="571"/>
                    <a:pt x="211" y="571"/>
                    <a:pt x="211" y="571"/>
                  </a:cubicBezTo>
                  <a:cubicBezTo>
                    <a:pt x="216" y="571"/>
                    <a:pt x="216" y="571"/>
                    <a:pt x="216" y="571"/>
                  </a:cubicBezTo>
                  <a:cubicBezTo>
                    <a:pt x="226" y="571"/>
                    <a:pt x="237" y="571"/>
                    <a:pt x="247" y="570"/>
                  </a:cubicBezTo>
                  <a:close/>
                  <a:moveTo>
                    <a:pt x="370" y="325"/>
                  </a:moveTo>
                  <a:cubicBezTo>
                    <a:pt x="372" y="327"/>
                    <a:pt x="376" y="329"/>
                    <a:pt x="378" y="330"/>
                  </a:cubicBezTo>
                  <a:cubicBezTo>
                    <a:pt x="403" y="348"/>
                    <a:pt x="417" y="377"/>
                    <a:pt x="417" y="412"/>
                  </a:cubicBezTo>
                  <a:cubicBezTo>
                    <a:pt x="417" y="442"/>
                    <a:pt x="406" y="502"/>
                    <a:pt x="318" y="532"/>
                  </a:cubicBezTo>
                  <a:cubicBezTo>
                    <a:pt x="323" y="542"/>
                    <a:pt x="327" y="552"/>
                    <a:pt x="330" y="558"/>
                  </a:cubicBezTo>
                  <a:cubicBezTo>
                    <a:pt x="332" y="557"/>
                    <a:pt x="335" y="557"/>
                    <a:pt x="336" y="556"/>
                  </a:cubicBezTo>
                  <a:cubicBezTo>
                    <a:pt x="339" y="556"/>
                    <a:pt x="339" y="556"/>
                    <a:pt x="339" y="556"/>
                  </a:cubicBezTo>
                  <a:cubicBezTo>
                    <a:pt x="341" y="558"/>
                    <a:pt x="341" y="558"/>
                    <a:pt x="341" y="558"/>
                  </a:cubicBezTo>
                  <a:cubicBezTo>
                    <a:pt x="373" y="596"/>
                    <a:pt x="397" y="656"/>
                    <a:pt x="405" y="713"/>
                  </a:cubicBezTo>
                  <a:cubicBezTo>
                    <a:pt x="405" y="713"/>
                    <a:pt x="408" y="741"/>
                    <a:pt x="408" y="751"/>
                  </a:cubicBezTo>
                  <a:cubicBezTo>
                    <a:pt x="408" y="752"/>
                    <a:pt x="408" y="752"/>
                    <a:pt x="408" y="752"/>
                  </a:cubicBezTo>
                  <a:cubicBezTo>
                    <a:pt x="408" y="753"/>
                    <a:pt x="408" y="753"/>
                    <a:pt x="408" y="754"/>
                  </a:cubicBezTo>
                  <a:cubicBezTo>
                    <a:pt x="408" y="755"/>
                    <a:pt x="408" y="755"/>
                    <a:pt x="408" y="755"/>
                  </a:cubicBezTo>
                  <a:cubicBezTo>
                    <a:pt x="408" y="763"/>
                    <a:pt x="405" y="774"/>
                    <a:pt x="391" y="779"/>
                  </a:cubicBezTo>
                  <a:cubicBezTo>
                    <a:pt x="391" y="786"/>
                    <a:pt x="391" y="786"/>
                    <a:pt x="391" y="786"/>
                  </a:cubicBezTo>
                  <a:cubicBezTo>
                    <a:pt x="497" y="786"/>
                    <a:pt x="497" y="786"/>
                    <a:pt x="497" y="786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88" y="776"/>
                    <a:pt x="469" y="766"/>
                    <a:pt x="461" y="734"/>
                  </a:cubicBezTo>
                  <a:cubicBezTo>
                    <a:pt x="460" y="729"/>
                    <a:pt x="460" y="729"/>
                    <a:pt x="460" y="729"/>
                  </a:cubicBezTo>
                  <a:cubicBezTo>
                    <a:pt x="454" y="704"/>
                    <a:pt x="450" y="691"/>
                    <a:pt x="446" y="678"/>
                  </a:cubicBezTo>
                  <a:cubicBezTo>
                    <a:pt x="436" y="646"/>
                    <a:pt x="414" y="588"/>
                    <a:pt x="378" y="547"/>
                  </a:cubicBezTo>
                  <a:cubicBezTo>
                    <a:pt x="374" y="543"/>
                    <a:pt x="374" y="543"/>
                    <a:pt x="374" y="543"/>
                  </a:cubicBezTo>
                  <a:cubicBezTo>
                    <a:pt x="379" y="540"/>
                    <a:pt x="379" y="540"/>
                    <a:pt x="379" y="540"/>
                  </a:cubicBezTo>
                  <a:cubicBezTo>
                    <a:pt x="381" y="540"/>
                    <a:pt x="382" y="539"/>
                    <a:pt x="383" y="539"/>
                  </a:cubicBezTo>
                  <a:cubicBezTo>
                    <a:pt x="383" y="539"/>
                    <a:pt x="384" y="538"/>
                    <a:pt x="385" y="538"/>
                  </a:cubicBezTo>
                  <a:cubicBezTo>
                    <a:pt x="440" y="510"/>
                    <a:pt x="470" y="465"/>
                    <a:pt x="470" y="412"/>
                  </a:cubicBezTo>
                  <a:cubicBezTo>
                    <a:pt x="471" y="372"/>
                    <a:pt x="448" y="332"/>
                    <a:pt x="414" y="309"/>
                  </a:cubicBezTo>
                  <a:cubicBezTo>
                    <a:pt x="400" y="299"/>
                    <a:pt x="380" y="289"/>
                    <a:pt x="359" y="285"/>
                  </a:cubicBezTo>
                  <a:cubicBezTo>
                    <a:pt x="366" y="300"/>
                    <a:pt x="369" y="316"/>
                    <a:pt x="370" y="325"/>
                  </a:cubicBezTo>
                  <a:close/>
                  <a:moveTo>
                    <a:pt x="295" y="237"/>
                  </a:moveTo>
                  <a:cubicBezTo>
                    <a:pt x="328" y="259"/>
                    <a:pt x="351" y="300"/>
                    <a:pt x="351" y="339"/>
                  </a:cubicBezTo>
                  <a:cubicBezTo>
                    <a:pt x="351" y="393"/>
                    <a:pt x="321" y="438"/>
                    <a:pt x="266" y="466"/>
                  </a:cubicBezTo>
                  <a:cubicBezTo>
                    <a:pt x="265" y="466"/>
                    <a:pt x="264" y="467"/>
                    <a:pt x="263" y="467"/>
                  </a:cubicBezTo>
                  <a:cubicBezTo>
                    <a:pt x="262" y="467"/>
                    <a:pt x="261" y="468"/>
                    <a:pt x="260" y="468"/>
                  </a:cubicBezTo>
                  <a:cubicBezTo>
                    <a:pt x="255" y="471"/>
                    <a:pt x="255" y="471"/>
                    <a:pt x="255" y="471"/>
                  </a:cubicBezTo>
                  <a:cubicBezTo>
                    <a:pt x="259" y="475"/>
                    <a:pt x="259" y="475"/>
                    <a:pt x="259" y="475"/>
                  </a:cubicBezTo>
                  <a:cubicBezTo>
                    <a:pt x="294" y="516"/>
                    <a:pt x="317" y="574"/>
                    <a:pt x="327" y="605"/>
                  </a:cubicBezTo>
                  <a:cubicBezTo>
                    <a:pt x="331" y="619"/>
                    <a:pt x="334" y="632"/>
                    <a:pt x="340" y="657"/>
                  </a:cubicBezTo>
                  <a:cubicBezTo>
                    <a:pt x="341" y="661"/>
                    <a:pt x="341" y="661"/>
                    <a:pt x="341" y="661"/>
                  </a:cubicBezTo>
                  <a:cubicBezTo>
                    <a:pt x="349" y="694"/>
                    <a:pt x="368" y="704"/>
                    <a:pt x="378" y="707"/>
                  </a:cubicBezTo>
                  <a:cubicBezTo>
                    <a:pt x="378" y="714"/>
                    <a:pt x="378" y="714"/>
                    <a:pt x="378" y="714"/>
                  </a:cubicBezTo>
                  <a:cubicBezTo>
                    <a:pt x="271" y="714"/>
                    <a:pt x="271" y="714"/>
                    <a:pt x="271" y="714"/>
                  </a:cubicBezTo>
                  <a:cubicBezTo>
                    <a:pt x="271" y="706"/>
                    <a:pt x="271" y="706"/>
                    <a:pt x="271" y="706"/>
                  </a:cubicBezTo>
                  <a:cubicBezTo>
                    <a:pt x="286" y="702"/>
                    <a:pt x="288" y="691"/>
                    <a:pt x="289" y="683"/>
                  </a:cubicBezTo>
                  <a:cubicBezTo>
                    <a:pt x="289" y="682"/>
                    <a:pt x="289" y="682"/>
                    <a:pt x="289" y="682"/>
                  </a:cubicBezTo>
                  <a:cubicBezTo>
                    <a:pt x="289" y="681"/>
                    <a:pt x="289" y="681"/>
                    <a:pt x="289" y="680"/>
                  </a:cubicBezTo>
                  <a:cubicBezTo>
                    <a:pt x="289" y="678"/>
                    <a:pt x="289" y="678"/>
                    <a:pt x="289" y="678"/>
                  </a:cubicBezTo>
                  <a:cubicBezTo>
                    <a:pt x="289" y="669"/>
                    <a:pt x="286" y="641"/>
                    <a:pt x="286" y="641"/>
                  </a:cubicBezTo>
                  <a:cubicBezTo>
                    <a:pt x="278" y="583"/>
                    <a:pt x="253" y="524"/>
                    <a:pt x="221" y="486"/>
                  </a:cubicBezTo>
                  <a:cubicBezTo>
                    <a:pt x="220" y="484"/>
                    <a:pt x="220" y="484"/>
                    <a:pt x="220" y="484"/>
                  </a:cubicBezTo>
                  <a:cubicBezTo>
                    <a:pt x="217" y="484"/>
                    <a:pt x="217" y="484"/>
                    <a:pt x="217" y="484"/>
                  </a:cubicBezTo>
                  <a:cubicBezTo>
                    <a:pt x="181" y="494"/>
                    <a:pt x="139" y="499"/>
                    <a:pt x="96" y="499"/>
                  </a:cubicBezTo>
                  <a:cubicBezTo>
                    <a:pt x="92" y="499"/>
                    <a:pt x="92" y="499"/>
                    <a:pt x="92" y="499"/>
                  </a:cubicBezTo>
                  <a:cubicBezTo>
                    <a:pt x="92" y="666"/>
                    <a:pt x="92" y="666"/>
                    <a:pt x="92" y="666"/>
                  </a:cubicBezTo>
                  <a:cubicBezTo>
                    <a:pt x="92" y="687"/>
                    <a:pt x="101" y="701"/>
                    <a:pt x="118" y="706"/>
                  </a:cubicBezTo>
                  <a:cubicBezTo>
                    <a:pt x="118" y="714"/>
                    <a:pt x="118" y="714"/>
                    <a:pt x="118" y="714"/>
                  </a:cubicBezTo>
                  <a:cubicBezTo>
                    <a:pt x="15" y="714"/>
                    <a:pt x="15" y="714"/>
                    <a:pt x="15" y="714"/>
                  </a:cubicBezTo>
                  <a:cubicBezTo>
                    <a:pt x="15" y="706"/>
                    <a:pt x="15" y="706"/>
                    <a:pt x="15" y="706"/>
                  </a:cubicBezTo>
                  <a:cubicBezTo>
                    <a:pt x="31" y="701"/>
                    <a:pt x="39" y="688"/>
                    <a:pt x="40" y="666"/>
                  </a:cubicBezTo>
                  <a:cubicBezTo>
                    <a:pt x="40" y="666"/>
                    <a:pt x="40" y="666"/>
                    <a:pt x="40" y="666"/>
                  </a:cubicBezTo>
                  <a:cubicBezTo>
                    <a:pt x="40" y="662"/>
                    <a:pt x="40" y="262"/>
                    <a:pt x="40" y="257"/>
                  </a:cubicBezTo>
                  <a:cubicBezTo>
                    <a:pt x="40" y="234"/>
                    <a:pt x="32" y="221"/>
                    <a:pt x="14" y="215"/>
                  </a:cubicBezTo>
                  <a:cubicBezTo>
                    <a:pt x="14" y="208"/>
                    <a:pt x="14" y="208"/>
                    <a:pt x="14" y="208"/>
                  </a:cubicBezTo>
                  <a:cubicBezTo>
                    <a:pt x="185" y="208"/>
                    <a:pt x="185" y="208"/>
                    <a:pt x="185" y="208"/>
                  </a:cubicBezTo>
                  <a:cubicBezTo>
                    <a:pt x="236" y="208"/>
                    <a:pt x="268" y="219"/>
                    <a:pt x="295" y="237"/>
                  </a:cubicBezTo>
                  <a:close/>
                  <a:moveTo>
                    <a:pt x="298" y="340"/>
                  </a:moveTo>
                  <a:cubicBezTo>
                    <a:pt x="298" y="305"/>
                    <a:pt x="284" y="276"/>
                    <a:pt x="259" y="258"/>
                  </a:cubicBezTo>
                  <a:cubicBezTo>
                    <a:pt x="239" y="245"/>
                    <a:pt x="215" y="238"/>
                    <a:pt x="183" y="237"/>
                  </a:cubicBezTo>
                  <a:cubicBezTo>
                    <a:pt x="92" y="237"/>
                    <a:pt x="92" y="237"/>
                    <a:pt x="92" y="237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97" y="474"/>
                    <a:pt x="97" y="474"/>
                    <a:pt x="97" y="474"/>
                  </a:cubicBezTo>
                  <a:cubicBezTo>
                    <a:pt x="278" y="471"/>
                    <a:pt x="298" y="379"/>
                    <a:pt x="298" y="340"/>
                  </a:cubicBezTo>
                  <a:close/>
                  <a:moveTo>
                    <a:pt x="109" y="49"/>
                  </a:moveTo>
                  <a:cubicBezTo>
                    <a:pt x="109" y="20"/>
                    <a:pt x="129" y="0"/>
                    <a:pt x="157" y="0"/>
                  </a:cubicBezTo>
                  <a:cubicBezTo>
                    <a:pt x="185" y="0"/>
                    <a:pt x="205" y="20"/>
                    <a:pt x="205" y="49"/>
                  </a:cubicBezTo>
                  <a:cubicBezTo>
                    <a:pt x="205" y="77"/>
                    <a:pt x="185" y="97"/>
                    <a:pt x="157" y="97"/>
                  </a:cubicBezTo>
                  <a:cubicBezTo>
                    <a:pt x="129" y="97"/>
                    <a:pt x="109" y="77"/>
                    <a:pt x="109" y="49"/>
                  </a:cubicBezTo>
                  <a:close/>
                  <a:moveTo>
                    <a:pt x="129" y="49"/>
                  </a:moveTo>
                  <a:cubicBezTo>
                    <a:pt x="129" y="69"/>
                    <a:pt x="140" y="81"/>
                    <a:pt x="157" y="81"/>
                  </a:cubicBezTo>
                  <a:cubicBezTo>
                    <a:pt x="175" y="81"/>
                    <a:pt x="185" y="69"/>
                    <a:pt x="185" y="49"/>
                  </a:cubicBezTo>
                  <a:cubicBezTo>
                    <a:pt x="185" y="28"/>
                    <a:pt x="175" y="16"/>
                    <a:pt x="157" y="16"/>
                  </a:cubicBezTo>
                  <a:cubicBezTo>
                    <a:pt x="140" y="16"/>
                    <a:pt x="129" y="28"/>
                    <a:pt x="129" y="49"/>
                  </a:cubicBezTo>
                  <a:close/>
                  <a:moveTo>
                    <a:pt x="310" y="80"/>
                  </a:moveTo>
                  <a:cubicBezTo>
                    <a:pt x="267" y="80"/>
                    <a:pt x="267" y="80"/>
                    <a:pt x="267" y="80"/>
                  </a:cubicBezTo>
                  <a:cubicBezTo>
                    <a:pt x="267" y="1"/>
                    <a:pt x="267" y="1"/>
                    <a:pt x="26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7" y="96"/>
                    <a:pt x="247" y="96"/>
                    <a:pt x="247" y="96"/>
                  </a:cubicBezTo>
                  <a:cubicBezTo>
                    <a:pt x="310" y="96"/>
                    <a:pt x="310" y="96"/>
                    <a:pt x="310" y="96"/>
                  </a:cubicBezTo>
                  <a:lnTo>
                    <a:pt x="310" y="80"/>
                  </a:lnTo>
                  <a:close/>
                  <a:moveTo>
                    <a:pt x="411" y="80"/>
                  </a:moveTo>
                  <a:cubicBezTo>
                    <a:pt x="367" y="80"/>
                    <a:pt x="367" y="80"/>
                    <a:pt x="367" y="80"/>
                  </a:cubicBezTo>
                  <a:cubicBezTo>
                    <a:pt x="367" y="1"/>
                    <a:pt x="367" y="1"/>
                    <a:pt x="367" y="1"/>
                  </a:cubicBezTo>
                  <a:cubicBezTo>
                    <a:pt x="348" y="1"/>
                    <a:pt x="348" y="1"/>
                    <a:pt x="348" y="1"/>
                  </a:cubicBezTo>
                  <a:cubicBezTo>
                    <a:pt x="348" y="96"/>
                    <a:pt x="348" y="96"/>
                    <a:pt x="348" y="96"/>
                  </a:cubicBezTo>
                  <a:cubicBezTo>
                    <a:pt x="411" y="96"/>
                    <a:pt x="411" y="96"/>
                    <a:pt x="411" y="96"/>
                  </a:cubicBezTo>
                  <a:lnTo>
                    <a:pt x="411" y="80"/>
                  </a:lnTo>
                  <a:close/>
                  <a:moveTo>
                    <a:pt x="23" y="96"/>
                  </a:moveTo>
                  <a:cubicBezTo>
                    <a:pt x="4" y="96"/>
                    <a:pt x="4" y="96"/>
                    <a:pt x="4" y="96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4" y="1"/>
                    <a:pt x="44" y="1"/>
                    <a:pt x="44" y="1"/>
                  </a:cubicBezTo>
                  <a:cubicBezTo>
                    <a:pt x="62" y="1"/>
                    <a:pt x="74" y="12"/>
                    <a:pt x="74" y="27"/>
                  </a:cubicBezTo>
                  <a:cubicBezTo>
                    <a:pt x="74" y="39"/>
                    <a:pt x="65" y="46"/>
                    <a:pt x="58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1"/>
                    <a:pt x="65" y="55"/>
                    <a:pt x="67" y="62"/>
                  </a:cubicBezTo>
                  <a:cubicBezTo>
                    <a:pt x="73" y="85"/>
                    <a:pt x="73" y="85"/>
                    <a:pt x="73" y="85"/>
                  </a:cubicBezTo>
                  <a:cubicBezTo>
                    <a:pt x="74" y="89"/>
                    <a:pt x="76" y="92"/>
                    <a:pt x="77" y="94"/>
                  </a:cubicBezTo>
                  <a:cubicBezTo>
                    <a:pt x="78" y="96"/>
                    <a:pt x="78" y="96"/>
                    <a:pt x="78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ubicBezTo>
                    <a:pt x="57" y="94"/>
                    <a:pt x="55" y="90"/>
                    <a:pt x="54" y="87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6" y="59"/>
                    <a:pt x="44" y="56"/>
                    <a:pt x="36" y="56"/>
                  </a:cubicBezTo>
                  <a:cubicBezTo>
                    <a:pt x="23" y="56"/>
                    <a:pt x="23" y="56"/>
                    <a:pt x="23" y="56"/>
                  </a:cubicBezTo>
                  <a:lnTo>
                    <a:pt x="23" y="96"/>
                  </a:lnTo>
                  <a:close/>
                  <a:moveTo>
                    <a:pt x="23" y="40"/>
                  </a:moveTo>
                  <a:cubicBezTo>
                    <a:pt x="41" y="40"/>
                    <a:pt x="41" y="40"/>
                    <a:pt x="41" y="40"/>
                  </a:cubicBezTo>
                  <a:cubicBezTo>
                    <a:pt x="50" y="40"/>
                    <a:pt x="54" y="36"/>
                    <a:pt x="54" y="29"/>
                  </a:cubicBezTo>
                  <a:cubicBezTo>
                    <a:pt x="54" y="21"/>
                    <a:pt x="50" y="17"/>
                    <a:pt x="41" y="17"/>
                  </a:cubicBezTo>
                  <a:cubicBezTo>
                    <a:pt x="23" y="17"/>
                    <a:pt x="23" y="17"/>
                    <a:pt x="23" y="17"/>
                  </a:cubicBezTo>
                  <a:lnTo>
                    <a:pt x="23" y="40"/>
                  </a:lnTo>
                  <a:close/>
                  <a:moveTo>
                    <a:pt x="477" y="81"/>
                  </a:moveTo>
                  <a:cubicBezTo>
                    <a:pt x="467" y="82"/>
                    <a:pt x="457" y="77"/>
                    <a:pt x="449" y="66"/>
                  </a:cubicBezTo>
                  <a:cubicBezTo>
                    <a:pt x="448" y="66"/>
                    <a:pt x="448" y="66"/>
                    <a:pt x="448" y="66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3" y="85"/>
                    <a:pt x="443" y="85"/>
                    <a:pt x="443" y="85"/>
                  </a:cubicBezTo>
                  <a:cubicBezTo>
                    <a:pt x="449" y="93"/>
                    <a:pt x="462" y="97"/>
                    <a:pt x="475" y="97"/>
                  </a:cubicBezTo>
                  <a:cubicBezTo>
                    <a:pt x="495" y="97"/>
                    <a:pt x="509" y="85"/>
                    <a:pt x="509" y="68"/>
                  </a:cubicBezTo>
                  <a:cubicBezTo>
                    <a:pt x="509" y="58"/>
                    <a:pt x="506" y="47"/>
                    <a:pt x="484" y="40"/>
                  </a:cubicBezTo>
                  <a:cubicBezTo>
                    <a:pt x="467" y="35"/>
                    <a:pt x="464" y="31"/>
                    <a:pt x="464" y="25"/>
                  </a:cubicBezTo>
                  <a:cubicBezTo>
                    <a:pt x="464" y="18"/>
                    <a:pt x="470" y="15"/>
                    <a:pt x="477" y="15"/>
                  </a:cubicBezTo>
                  <a:cubicBezTo>
                    <a:pt x="484" y="15"/>
                    <a:pt x="491" y="18"/>
                    <a:pt x="498" y="24"/>
                  </a:cubicBezTo>
                  <a:cubicBezTo>
                    <a:pt x="499" y="24"/>
                    <a:pt x="499" y="24"/>
                    <a:pt x="499" y="24"/>
                  </a:cubicBezTo>
                  <a:cubicBezTo>
                    <a:pt x="504" y="8"/>
                    <a:pt x="504" y="8"/>
                    <a:pt x="504" y="8"/>
                  </a:cubicBezTo>
                  <a:cubicBezTo>
                    <a:pt x="504" y="7"/>
                    <a:pt x="504" y="7"/>
                    <a:pt x="504" y="7"/>
                  </a:cubicBezTo>
                  <a:cubicBezTo>
                    <a:pt x="496" y="2"/>
                    <a:pt x="487" y="0"/>
                    <a:pt x="477" y="0"/>
                  </a:cubicBezTo>
                  <a:cubicBezTo>
                    <a:pt x="457" y="0"/>
                    <a:pt x="445" y="10"/>
                    <a:pt x="445" y="26"/>
                  </a:cubicBezTo>
                  <a:cubicBezTo>
                    <a:pt x="445" y="39"/>
                    <a:pt x="454" y="48"/>
                    <a:pt x="472" y="54"/>
                  </a:cubicBezTo>
                  <a:cubicBezTo>
                    <a:pt x="477" y="55"/>
                    <a:pt x="481" y="57"/>
                    <a:pt x="484" y="59"/>
                  </a:cubicBezTo>
                  <a:cubicBezTo>
                    <a:pt x="487" y="61"/>
                    <a:pt x="489" y="65"/>
                    <a:pt x="489" y="69"/>
                  </a:cubicBezTo>
                  <a:cubicBezTo>
                    <a:pt x="489" y="76"/>
                    <a:pt x="484" y="81"/>
                    <a:pt x="477" y="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1219184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</p:grpSp>
    </p:spTree>
    <p:custDataLst>
      <p:tags r:id="rId63"/>
    </p:custDataLst>
    <p:extLst>
      <p:ext uri="{BB962C8B-B14F-4D97-AF65-F5344CB8AC3E}">
        <p14:creationId xmlns:p14="http://schemas.microsoft.com/office/powerpoint/2010/main" val="1608579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  <p:sldLayoutId id="2147483719" r:id="rId12"/>
    <p:sldLayoutId id="2147483720" r:id="rId13"/>
    <p:sldLayoutId id="2147483721" r:id="rId14"/>
    <p:sldLayoutId id="2147483722" r:id="rId15"/>
    <p:sldLayoutId id="2147483723" r:id="rId16"/>
    <p:sldLayoutId id="2147483724" r:id="rId17"/>
    <p:sldLayoutId id="2147483725" r:id="rId18"/>
    <p:sldLayoutId id="2147483726" r:id="rId19"/>
    <p:sldLayoutId id="2147483727" r:id="rId20"/>
    <p:sldLayoutId id="2147483728" r:id="rId21"/>
    <p:sldLayoutId id="2147483729" r:id="rId22"/>
    <p:sldLayoutId id="2147483730" r:id="rId23"/>
    <p:sldLayoutId id="2147483731" r:id="rId24"/>
    <p:sldLayoutId id="2147483732" r:id="rId25"/>
    <p:sldLayoutId id="2147483733" r:id="rId26"/>
    <p:sldLayoutId id="2147483734" r:id="rId27"/>
    <p:sldLayoutId id="2147483735" r:id="rId28"/>
    <p:sldLayoutId id="2147483736" r:id="rId29"/>
    <p:sldLayoutId id="2147483737" r:id="rId30"/>
    <p:sldLayoutId id="2147483738" r:id="rId31"/>
    <p:sldLayoutId id="2147483739" r:id="rId32"/>
    <p:sldLayoutId id="2147483740" r:id="rId33"/>
    <p:sldLayoutId id="2147483741" r:id="rId34"/>
    <p:sldLayoutId id="2147483742" r:id="rId35"/>
    <p:sldLayoutId id="2147483743" r:id="rId36"/>
    <p:sldLayoutId id="2147483744" r:id="rId37"/>
    <p:sldLayoutId id="2147483745" r:id="rId38"/>
    <p:sldLayoutId id="2147483746" r:id="rId39"/>
    <p:sldLayoutId id="2147483747" r:id="rId40"/>
    <p:sldLayoutId id="2147483748" r:id="rId41"/>
    <p:sldLayoutId id="2147483749" r:id="rId42"/>
    <p:sldLayoutId id="2147483750" r:id="rId43"/>
    <p:sldLayoutId id="2147483751" r:id="rId44"/>
    <p:sldLayoutId id="2147483752" r:id="rId45"/>
    <p:sldLayoutId id="2147483753" r:id="rId46"/>
    <p:sldLayoutId id="2147483754" r:id="rId47"/>
    <p:sldLayoutId id="2147483755" r:id="rId48"/>
    <p:sldLayoutId id="2147483756" r:id="rId49"/>
    <p:sldLayoutId id="2147483757" r:id="rId50"/>
    <p:sldLayoutId id="2147483758" r:id="rId51"/>
    <p:sldLayoutId id="2147483759" r:id="rId52"/>
    <p:sldLayoutId id="2147483760" r:id="rId53"/>
    <p:sldLayoutId id="2147483761" r:id="rId54"/>
    <p:sldLayoutId id="2147483762" r:id="rId55"/>
    <p:sldLayoutId id="2147483763" r:id="rId56"/>
    <p:sldLayoutId id="2147483764" r:id="rId57"/>
    <p:sldLayoutId id="2147483765" r:id="rId58"/>
    <p:sldLayoutId id="2147483766" r:id="rId59"/>
    <p:sldLayoutId id="2147483767" r:id="rId60"/>
    <p:sldLayoutId id="2147483768" r:id="rId61"/>
  </p:sldLayoutIdLst>
  <p:hf hdr="0" dt="0"/>
  <p:txStyles>
    <p:titleStyle>
      <a:lvl1pPr algn="l" defTabSz="914388" rtl="0" eaLnBrk="1" latinLnBrk="0" hangingPunct="1">
        <a:lnSpc>
          <a:spcPct val="90000"/>
        </a:lnSpc>
        <a:spcBef>
          <a:spcPct val="0"/>
        </a:spcBef>
        <a:buNone/>
        <a:defRPr sz="20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388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228597" indent="-228597" algn="l" defTabSz="914388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478360" indent="-228597" algn="l" defTabSz="914388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1775" indent="-228597" algn="l" defTabSz="914388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956721" indent="-228597" algn="l" defTabSz="914388" rtl="0" eaLnBrk="1" latinLnBrk="0" hangingPunct="1">
        <a:lnSpc>
          <a:spcPct val="90000"/>
        </a:lnSpc>
        <a:spcBef>
          <a:spcPts val="500"/>
        </a:spcBef>
        <a:buClr>
          <a:schemeClr val="tx2"/>
        </a:buClr>
        <a:buFont typeface="Wingdings" panose="05000000000000000000" pitchFamily="2" charset="2"/>
        <a:buChar char="§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569" indent="-228597" algn="l" defTabSz="9143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63" indent="-228597" algn="l" defTabSz="9143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57" indent="-228597" algn="l" defTabSz="9143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52" indent="-228597" algn="l" defTabSz="914388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5" algn="l" defTabSz="9143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88" algn="l" defTabSz="9143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83" algn="l" defTabSz="9143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77" algn="l" defTabSz="9143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71" algn="l" defTabSz="9143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66" algn="l" defTabSz="9143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60" algn="l" defTabSz="9143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54" algn="l" defTabSz="9143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04">
          <p15:clr>
            <a:srgbClr val="F26B43"/>
          </p15:clr>
        </p15:guide>
        <p15:guide id="2" pos="5556">
          <p15:clr>
            <a:srgbClr val="F26B43"/>
          </p15:clr>
        </p15:guide>
        <p15:guide id="3" orient="horz" pos="1620">
          <p15:clr>
            <a:srgbClr val="F26B43"/>
          </p15:clr>
        </p15:guide>
        <p15:guide id="4" orient="horz" pos="146">
          <p15:clr>
            <a:srgbClr val="F26B43"/>
          </p15:clr>
        </p15:guide>
        <p15:guide id="5" orient="horz" pos="3094">
          <p15:clr>
            <a:srgbClr val="F26B43"/>
          </p15:clr>
        </p15:guide>
        <p15:guide id="6" pos="1429">
          <p15:clr>
            <a:srgbClr val="F26B43"/>
          </p15:clr>
        </p15:guide>
        <p15:guide id="7" orient="horz" pos="237">
          <p15:clr>
            <a:srgbClr val="F26B43"/>
          </p15:clr>
        </p15:guide>
        <p15:guide id="8" orient="horz" pos="3003">
          <p15:clr>
            <a:srgbClr val="F26B43"/>
          </p15:clr>
        </p15:guide>
        <p15:guide id="9" orient="horz" pos="2913">
          <p15:clr>
            <a:srgbClr val="F26B43"/>
          </p15:clr>
        </p15:guide>
        <p15:guide id="11" orient="horz" pos="622">
          <p15:clr>
            <a:srgbClr val="F26B43"/>
          </p15:clr>
        </p15:guide>
        <p15:guide id="12" pos="1723">
          <p15:clr>
            <a:srgbClr val="F26B43"/>
          </p15:clr>
        </p15:guide>
        <p15:guide id="13" orient="horz" pos="2550">
          <p15:clr>
            <a:srgbClr val="F26B43"/>
          </p15:clr>
        </p15:guide>
        <p15:guide id="14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33.jpeg"/><Relationship Id="rId2" Type="http://schemas.openxmlformats.org/officeDocument/2006/relationships/slideLayout" Target="../slideLayouts/slideLayout18.xml"/><Relationship Id="rId1" Type="http://schemas.openxmlformats.org/officeDocument/2006/relationships/tags" Target="../tags/tag86.xml"/><Relationship Id="rId6" Type="http://schemas.openxmlformats.org/officeDocument/2006/relationships/image" Target="../media/image32.jpeg"/><Relationship Id="rId11" Type="http://schemas.openxmlformats.org/officeDocument/2006/relationships/image" Target="../media/image37.png"/><Relationship Id="rId5" Type="http://schemas.openxmlformats.org/officeDocument/2006/relationships/image" Target="../media/image31.emf"/><Relationship Id="rId10" Type="http://schemas.openxmlformats.org/officeDocument/2006/relationships/image" Target="../media/image36.jpeg"/><Relationship Id="rId4" Type="http://schemas.openxmlformats.org/officeDocument/2006/relationships/oleObject" Target="../embeddings/oleObject1.bin"/><Relationship Id="rId9" Type="http://schemas.openxmlformats.org/officeDocument/2006/relationships/image" Target="../media/image3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4.xml"/><Relationship Id="rId4" Type="http://schemas.openxmlformats.org/officeDocument/2006/relationships/image" Target="../media/image3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2.xml"/><Relationship Id="rId4" Type="http://schemas.openxmlformats.org/officeDocument/2006/relationships/image" Target="../media/image4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7" Type="http://schemas.openxmlformats.org/officeDocument/2006/relationships/image" Target="../media/image4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8.xml"/><Relationship Id="rId6" Type="http://schemas.openxmlformats.org/officeDocument/2006/relationships/image" Target="../media/image45.png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13" Type="http://schemas.openxmlformats.org/officeDocument/2006/relationships/image" Target="../media/image52.sv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openxmlformats.org/officeDocument/2006/relationships/image" Target="../media/image5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8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50.svg"/><Relationship Id="rId5" Type="http://schemas.openxmlformats.org/officeDocument/2006/relationships/diagramQuickStyle" Target="../diagrams/quickStyle1.xml"/><Relationship Id="rId15" Type="http://schemas.openxmlformats.org/officeDocument/2006/relationships/image" Target="../media/image54.svg"/><Relationship Id="rId10" Type="http://schemas.openxmlformats.org/officeDocument/2006/relationships/image" Target="../media/image49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48.svg"/><Relationship Id="rId14" Type="http://schemas.openxmlformats.org/officeDocument/2006/relationships/image" Target="../media/image5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4FD0554-1CF0-4CEA-AEFD-2C27BE011F3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Aviation Just Transition Roundtable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0014C3FA-0EF3-49FB-B6DE-648E9508508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The Impact of Green transition on worker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6AEF4C5-AD6C-409F-A97F-BB98E9EAA2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277E195-0BD0-4553-A358-CB0D581AE5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1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6964EBD-1722-4068-8C93-25BB275B57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/>
              <a:t>Michaela Grimley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77893B0-9963-467D-8B09-EA7F6274D0B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/>
              <a:t>March 2023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86C555D-D708-4E79-A283-159AE82B282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25583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CD5C7C4-BD12-4860-A75E-E63EA05C35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CD5C7C4-BD12-4860-A75E-E63EA05C35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2F5D3FCA-10EE-4E00-85EA-4ACE8E664E1D}"/>
              </a:ext>
            </a:extLst>
          </p:cNvPr>
          <p:cNvGrpSpPr>
            <a:grpSpLocks/>
          </p:cNvGrpSpPr>
          <p:nvPr/>
        </p:nvGrpSpPr>
        <p:grpSpPr>
          <a:xfrm>
            <a:off x="3026288" y="1925933"/>
            <a:ext cx="9165713" cy="2009596"/>
            <a:chOff x="2269715" y="1039120"/>
            <a:chExt cx="6874285" cy="1513581"/>
          </a:xfrm>
        </p:grpSpPr>
        <p:pic>
          <p:nvPicPr>
            <p:cNvPr id="27" name="Picture 6" descr="A picture containing person&#10;&#10;Description automatically generated">
              <a:extLst>
                <a:ext uri="{FF2B5EF4-FFF2-40B4-BE49-F238E27FC236}">
                  <a16:creationId xmlns:a16="http://schemas.microsoft.com/office/drawing/2014/main" id="{09E81596-248E-4848-A56B-5BAFD346ADF1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85770" y="1049963"/>
              <a:ext cx="2242174" cy="1502737"/>
            </a:xfrm>
            <a:prstGeom prst="rect">
              <a:avLst/>
            </a:prstGeom>
          </p:spPr>
        </p:pic>
        <p:pic>
          <p:nvPicPr>
            <p:cNvPr id="29" name="Picture 54">
              <a:extLst>
                <a:ext uri="{FF2B5EF4-FFF2-40B4-BE49-F238E27FC236}">
                  <a16:creationId xmlns:a16="http://schemas.microsoft.com/office/drawing/2014/main" id="{FC9B0A7D-0C02-40FD-82A2-03D07E62A716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901826" y="1049963"/>
              <a:ext cx="2242174" cy="1502737"/>
            </a:xfrm>
            <a:prstGeom prst="rect">
              <a:avLst/>
            </a:prstGeom>
          </p:spPr>
        </p:pic>
        <p:pic>
          <p:nvPicPr>
            <p:cNvPr id="36" name="Picture 55">
              <a:extLst>
                <a:ext uri="{FF2B5EF4-FFF2-40B4-BE49-F238E27FC236}">
                  <a16:creationId xmlns:a16="http://schemas.microsoft.com/office/drawing/2014/main" id="{E825B789-CA0F-4D09-A818-852E9BEE641D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69715" y="1039120"/>
              <a:ext cx="2242174" cy="1513581"/>
            </a:xfrm>
            <a:prstGeom prst="rect">
              <a:avLst/>
            </a:prstGeom>
          </p:spPr>
        </p:pic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71BE0693-7314-47B2-9255-290B4BA81D06}"/>
              </a:ext>
            </a:extLst>
          </p:cNvPr>
          <p:cNvGrpSpPr>
            <a:grpSpLocks/>
          </p:cNvGrpSpPr>
          <p:nvPr/>
        </p:nvGrpSpPr>
        <p:grpSpPr>
          <a:xfrm>
            <a:off x="3026288" y="4031528"/>
            <a:ext cx="9165713" cy="1995199"/>
            <a:chOff x="2269715" y="2612025"/>
            <a:chExt cx="6874285" cy="1502737"/>
          </a:xfrm>
        </p:grpSpPr>
        <p:pic>
          <p:nvPicPr>
            <p:cNvPr id="28" name="Picture 4">
              <a:extLst>
                <a:ext uri="{FF2B5EF4-FFF2-40B4-BE49-F238E27FC236}">
                  <a16:creationId xmlns:a16="http://schemas.microsoft.com/office/drawing/2014/main" id="{131666D1-3154-403F-B04B-FA864811B31F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585770" y="2612025"/>
              <a:ext cx="2242174" cy="1502737"/>
            </a:xfrm>
            <a:prstGeom prst="rect">
              <a:avLst/>
            </a:prstGeom>
          </p:spPr>
        </p:pic>
        <p:pic>
          <p:nvPicPr>
            <p:cNvPr id="40" name="Picture 60">
              <a:extLst>
                <a:ext uri="{FF2B5EF4-FFF2-40B4-BE49-F238E27FC236}">
                  <a16:creationId xmlns:a16="http://schemas.microsoft.com/office/drawing/2014/main" id="{6F890D8B-479A-4734-BE9B-205C8EA9DA05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269715" y="2612025"/>
              <a:ext cx="2242174" cy="1502737"/>
            </a:xfrm>
            <a:prstGeom prst="rect">
              <a:avLst/>
            </a:prstGeom>
          </p:spPr>
        </p:pic>
        <p:pic>
          <p:nvPicPr>
            <p:cNvPr id="43" name="Picture 68" descr="A picture containing plane, fighter&#10;&#10;Description automatically generated">
              <a:extLst>
                <a:ext uri="{FF2B5EF4-FFF2-40B4-BE49-F238E27FC236}">
                  <a16:creationId xmlns:a16="http://schemas.microsoft.com/office/drawing/2014/main" id="{634BC954-06EC-4167-B544-24916C9AA492}"/>
                </a:ext>
              </a:extLst>
            </p:cNvPr>
            <p:cNvPicPr preferRelativeResize="0">
              <a:picLocks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901826" y="2612025"/>
              <a:ext cx="2242174" cy="1502737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0F809BE8-CF1C-4F94-9F19-F39211770A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>
                <a:solidFill>
                  <a:srgbClr val="00BFBD"/>
                </a:solidFill>
              </a:rPr>
              <a:t>Net Zero pathway for aviation:</a:t>
            </a:r>
            <a:br>
              <a:rPr lang="en-GB" dirty="0">
                <a:solidFill>
                  <a:srgbClr val="00BFBD"/>
                </a:solidFill>
              </a:rPr>
            </a:br>
            <a:r>
              <a:rPr lang="en-GB" dirty="0">
                <a:solidFill>
                  <a:srgbClr val="00BFBD"/>
                </a:solidFill>
              </a:rPr>
              <a:t>Three major pillars to decarbonisation</a:t>
            </a:r>
            <a:endParaRPr lang="en-US" dirty="0">
              <a:solidFill>
                <a:srgbClr val="00BFBD"/>
              </a:solidFill>
            </a:endParaRP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134BA62-9E1F-4287-AAE8-9050927650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33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+mn-cs"/>
              </a:rPr>
              <a:t>Non-confidential</a:t>
            </a: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+mn-cs"/>
              </a:rPr>
              <a:t> | Not Subject to Export Control | </a:t>
            </a:r>
            <a:b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+mn-cs"/>
              </a:rPr>
            </a:b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+mn-cs"/>
              </a:rPr>
              <a:t>© 2022 Rolls-Royce </a:t>
            </a:r>
            <a:endParaRPr kumimoji="0" lang="en-GB" sz="933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RR Pioneer Light Condensed" panose="020B0306050201060103" pitchFamily="34" charset="0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895B97-54E5-49A3-8739-8C99037A25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59B429-512E-4592-B480-D2818264A486}" type="slidenum"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 bold"/>
                <a:ea typeface="+mn-ea"/>
                <a:cs typeface="+mn-cs"/>
              </a:rPr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RR Pioneer bold"/>
              <a:ea typeface="+mn-ea"/>
              <a:cs typeface="+mn-cs"/>
            </a:endParaRP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4CA04202-106C-4BED-805F-772BAE7ED2B4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432000" y="2786291"/>
            <a:ext cx="2380800" cy="2613709"/>
          </a:xfrm>
        </p:spPr>
        <p:txBody>
          <a:bodyPr/>
          <a:lstStyle/>
          <a:p>
            <a:r>
              <a:rPr lang="en-GB" dirty="0"/>
              <a:t>We play a vital role in the decarbonisation of our industry.</a:t>
            </a:r>
          </a:p>
          <a:p>
            <a:r>
              <a:rPr lang="en-GB" dirty="0"/>
              <a:t>The transition to net zero represents a tremendous opportunity for Rolls-Royce.</a:t>
            </a:r>
          </a:p>
        </p:txBody>
      </p:sp>
      <p:sp>
        <p:nvSpPr>
          <p:cNvPr id="30" name="Rectangle 36">
            <a:extLst>
              <a:ext uri="{FF2B5EF4-FFF2-40B4-BE49-F238E27FC236}">
                <a16:creationId xmlns:a16="http://schemas.microsoft.com/office/drawing/2014/main" id="{47A08DE6-F3C1-4B1A-A091-000913A1A6EF}"/>
              </a:ext>
            </a:extLst>
          </p:cNvPr>
          <p:cNvSpPr>
            <a:spLocks/>
          </p:cNvSpPr>
          <p:nvPr/>
        </p:nvSpPr>
        <p:spPr>
          <a:xfrm>
            <a:off x="3026287" y="540378"/>
            <a:ext cx="2989565" cy="1300837"/>
          </a:xfrm>
          <a:prstGeom prst="rect">
            <a:avLst/>
          </a:prstGeom>
          <a:solidFill>
            <a:srgbClr val="00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6DFF"/>
              </a:buClr>
              <a:buSzTx/>
              <a:buFontTx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Arial" panose="020B0604020202020204" pitchFamily="34" charset="0"/>
              </a:rPr>
              <a:t>Step change</a:t>
            </a:r>
            <a:r>
              <a:rPr kumimoji="0" lang="hu-HU" sz="213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Arial" panose="020B0604020202020204" pitchFamily="34" charset="0"/>
              </a:rPr>
              <a:t>in efficiency </a:t>
            </a:r>
            <a:b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Arial" panose="020B0604020202020204" pitchFamily="34" charset="0"/>
              </a:rPr>
            </a:b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Arial" panose="020B0604020202020204" pitchFamily="34" charset="0"/>
              </a:rPr>
              <a:t>of gas turbines</a:t>
            </a:r>
          </a:p>
        </p:txBody>
      </p:sp>
      <p:sp>
        <p:nvSpPr>
          <p:cNvPr id="32" name="Rectangle 40">
            <a:extLst>
              <a:ext uri="{FF2B5EF4-FFF2-40B4-BE49-F238E27FC236}">
                <a16:creationId xmlns:a16="http://schemas.microsoft.com/office/drawing/2014/main" id="{AEADCF28-C7A8-424C-A9CD-2A383A526204}"/>
              </a:ext>
            </a:extLst>
          </p:cNvPr>
          <p:cNvSpPr>
            <a:spLocks/>
          </p:cNvSpPr>
          <p:nvPr/>
        </p:nvSpPr>
        <p:spPr>
          <a:xfrm>
            <a:off x="6114360" y="540378"/>
            <a:ext cx="2989565" cy="1300837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6DFF"/>
              </a:buClr>
              <a:buSzTx/>
              <a:buFontTx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Arial" panose="020B0604020202020204" pitchFamily="34" charset="0"/>
              </a:rPr>
              <a:t>Leading SAF demonstration </a:t>
            </a:r>
            <a:b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Arial" panose="020B0604020202020204" pitchFamily="34" charset="0"/>
              </a:rPr>
            </a:b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Arial" panose="020B0604020202020204" pitchFamily="34" charset="0"/>
              </a:rPr>
              <a:t>and adoption </a:t>
            </a:r>
          </a:p>
        </p:txBody>
      </p:sp>
      <p:sp>
        <p:nvSpPr>
          <p:cNvPr id="34" name="Rectangle 50">
            <a:extLst>
              <a:ext uri="{FF2B5EF4-FFF2-40B4-BE49-F238E27FC236}">
                <a16:creationId xmlns:a16="http://schemas.microsoft.com/office/drawing/2014/main" id="{DAB28CE3-B032-4350-97ED-7DB28B4A96ED}"/>
              </a:ext>
            </a:extLst>
          </p:cNvPr>
          <p:cNvSpPr>
            <a:spLocks/>
          </p:cNvSpPr>
          <p:nvPr/>
        </p:nvSpPr>
        <p:spPr>
          <a:xfrm>
            <a:off x="9202435" y="540378"/>
            <a:ext cx="2989565" cy="1300837"/>
          </a:xfrm>
          <a:prstGeom prst="rect">
            <a:avLst/>
          </a:prstGeom>
          <a:solidFill>
            <a:srgbClr val="0075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6DFF"/>
              </a:buClr>
              <a:buSzTx/>
              <a:buFontTx/>
              <a:buNone/>
              <a:tabLst/>
              <a:defRPr/>
            </a:pPr>
            <a:r>
              <a:rPr kumimoji="0" lang="en-GB" sz="21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Arial" panose="020B0604020202020204" pitchFamily="34" charset="0"/>
              </a:rPr>
              <a:t>Developing third generation technologies</a:t>
            </a:r>
          </a:p>
        </p:txBody>
      </p:sp>
      <p:sp>
        <p:nvSpPr>
          <p:cNvPr id="37" name="Rectangle 57">
            <a:extLst>
              <a:ext uri="{FF2B5EF4-FFF2-40B4-BE49-F238E27FC236}">
                <a16:creationId xmlns:a16="http://schemas.microsoft.com/office/drawing/2014/main" id="{C25B0BE2-DD8B-4147-8CAC-D8DABE2ED9E0}"/>
              </a:ext>
            </a:extLst>
          </p:cNvPr>
          <p:cNvSpPr>
            <a:spLocks/>
          </p:cNvSpPr>
          <p:nvPr/>
        </p:nvSpPr>
        <p:spPr>
          <a:xfrm>
            <a:off x="3026287" y="3314234"/>
            <a:ext cx="2989565" cy="621293"/>
          </a:xfrm>
          <a:prstGeom prst="rect">
            <a:avLst/>
          </a:prstGeom>
          <a:solidFill>
            <a:srgbClr val="00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Gas turbine technology demonstrators</a:t>
            </a:r>
          </a:p>
        </p:txBody>
      </p:sp>
      <p:sp>
        <p:nvSpPr>
          <p:cNvPr id="38" name="Rectangle 58">
            <a:extLst>
              <a:ext uri="{FF2B5EF4-FFF2-40B4-BE49-F238E27FC236}">
                <a16:creationId xmlns:a16="http://schemas.microsoft.com/office/drawing/2014/main" id="{979198A3-3670-42C2-8601-08E8A8A37CDF}"/>
              </a:ext>
            </a:extLst>
          </p:cNvPr>
          <p:cNvSpPr>
            <a:spLocks/>
          </p:cNvSpPr>
          <p:nvPr/>
        </p:nvSpPr>
        <p:spPr>
          <a:xfrm>
            <a:off x="6114360" y="3310869"/>
            <a:ext cx="2989565" cy="624659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100% SAF </a:t>
            </a:r>
            <a:b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</a:b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testing programme</a:t>
            </a:r>
          </a:p>
        </p:txBody>
      </p:sp>
      <p:sp>
        <p:nvSpPr>
          <p:cNvPr id="39" name="Rectangle 59">
            <a:extLst>
              <a:ext uri="{FF2B5EF4-FFF2-40B4-BE49-F238E27FC236}">
                <a16:creationId xmlns:a16="http://schemas.microsoft.com/office/drawing/2014/main" id="{50D3096E-45E6-4012-A092-E58EDB423AEA}"/>
              </a:ext>
            </a:extLst>
          </p:cNvPr>
          <p:cNvSpPr>
            <a:spLocks/>
          </p:cNvSpPr>
          <p:nvPr/>
        </p:nvSpPr>
        <p:spPr>
          <a:xfrm>
            <a:off x="9202435" y="3326668"/>
            <a:ext cx="2989565" cy="608860"/>
          </a:xfrm>
          <a:prstGeom prst="rect">
            <a:avLst/>
          </a:prstGeom>
          <a:solidFill>
            <a:srgbClr val="0075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‘Spirit of Innovation’         </a:t>
            </a:r>
            <a:b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</a:b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speed record</a:t>
            </a:r>
          </a:p>
        </p:txBody>
      </p:sp>
      <p:sp>
        <p:nvSpPr>
          <p:cNvPr id="42" name="Rectangle 64">
            <a:extLst>
              <a:ext uri="{FF2B5EF4-FFF2-40B4-BE49-F238E27FC236}">
                <a16:creationId xmlns:a16="http://schemas.microsoft.com/office/drawing/2014/main" id="{377F0342-D296-4883-8FB8-1511DE8166FC}"/>
              </a:ext>
            </a:extLst>
          </p:cNvPr>
          <p:cNvSpPr>
            <a:spLocks/>
          </p:cNvSpPr>
          <p:nvPr/>
        </p:nvSpPr>
        <p:spPr>
          <a:xfrm>
            <a:off x="3026287" y="5402067"/>
            <a:ext cx="2989565" cy="624659"/>
          </a:xfrm>
          <a:prstGeom prst="rect">
            <a:avLst/>
          </a:prstGeom>
          <a:solidFill>
            <a:srgbClr val="00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UltraFan Demonstrator     </a:t>
            </a:r>
            <a:b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</a:b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engine 2022</a:t>
            </a:r>
          </a:p>
        </p:txBody>
      </p:sp>
      <p:sp>
        <p:nvSpPr>
          <p:cNvPr id="44" name="Rectangle 69">
            <a:extLst>
              <a:ext uri="{FF2B5EF4-FFF2-40B4-BE49-F238E27FC236}">
                <a16:creationId xmlns:a16="http://schemas.microsoft.com/office/drawing/2014/main" id="{C5CA775F-242F-4C2B-9A3D-9F71D1CE5B2C}"/>
              </a:ext>
            </a:extLst>
          </p:cNvPr>
          <p:cNvSpPr>
            <a:spLocks/>
          </p:cNvSpPr>
          <p:nvPr/>
        </p:nvSpPr>
        <p:spPr>
          <a:xfrm>
            <a:off x="6114360" y="5402067"/>
            <a:ext cx="2989565" cy="624659"/>
          </a:xfrm>
          <a:prstGeom prst="rect">
            <a:avLst/>
          </a:prstGeom>
          <a:solidFill>
            <a:schemeClr val="accent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Influencing industry thinking</a:t>
            </a:r>
          </a:p>
        </p:txBody>
      </p:sp>
      <p:sp>
        <p:nvSpPr>
          <p:cNvPr id="45" name="Rectangle 70">
            <a:extLst>
              <a:ext uri="{FF2B5EF4-FFF2-40B4-BE49-F238E27FC236}">
                <a16:creationId xmlns:a16="http://schemas.microsoft.com/office/drawing/2014/main" id="{9858ABF1-D801-4F7C-9B3D-83296414D565}"/>
              </a:ext>
            </a:extLst>
          </p:cNvPr>
          <p:cNvSpPr>
            <a:spLocks/>
          </p:cNvSpPr>
          <p:nvPr/>
        </p:nvSpPr>
        <p:spPr>
          <a:xfrm>
            <a:off x="9202435" y="5402067"/>
            <a:ext cx="2989565" cy="624659"/>
          </a:xfrm>
          <a:prstGeom prst="rect">
            <a:avLst/>
          </a:prstGeom>
          <a:solidFill>
            <a:srgbClr val="0075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Electrified products </a:t>
            </a:r>
          </a:p>
        </p:txBody>
      </p:sp>
    </p:spTree>
    <p:extLst>
      <p:ext uri="{BB962C8B-B14F-4D97-AF65-F5344CB8AC3E}">
        <p14:creationId xmlns:p14="http://schemas.microsoft.com/office/powerpoint/2010/main" val="1321389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4" name="Rectangle 90">
            <a:extLst>
              <a:ext uri="{FF2B5EF4-FFF2-40B4-BE49-F238E27FC236}">
                <a16:creationId xmlns:a16="http://schemas.microsoft.com/office/drawing/2014/main" id="{DA2E7C1E-2B5A-4BBA-AE51-1CD8C19309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sp>
        <p:nvSpPr>
          <p:cNvPr id="96" name="Rectangle 6">
            <a:extLst>
              <a:ext uri="{FF2B5EF4-FFF2-40B4-BE49-F238E27FC236}">
                <a16:creationId xmlns:a16="http://schemas.microsoft.com/office/drawing/2014/main" id="{43DF76B1-5174-4FAF-9D19-FFEE984268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V="1">
            <a:off x="838200" y="720953"/>
            <a:ext cx="10515600" cy="5416094"/>
          </a:xfrm>
          <a:custGeom>
            <a:avLst/>
            <a:gdLst>
              <a:gd name="connsiteX0" fmla="*/ 0 w 10515600"/>
              <a:gd name="connsiteY0" fmla="*/ 0 h 5416094"/>
              <a:gd name="connsiteX1" fmla="*/ 552069 w 10515600"/>
              <a:gd name="connsiteY1" fmla="*/ 0 h 5416094"/>
              <a:gd name="connsiteX2" fmla="*/ 893826 w 10515600"/>
              <a:gd name="connsiteY2" fmla="*/ 0 h 5416094"/>
              <a:gd name="connsiteX3" fmla="*/ 1761363 w 10515600"/>
              <a:gd name="connsiteY3" fmla="*/ 0 h 5416094"/>
              <a:gd name="connsiteX4" fmla="*/ 2313432 w 10515600"/>
              <a:gd name="connsiteY4" fmla="*/ 0 h 5416094"/>
              <a:gd name="connsiteX5" fmla="*/ 2865501 w 10515600"/>
              <a:gd name="connsiteY5" fmla="*/ 0 h 5416094"/>
              <a:gd name="connsiteX6" fmla="*/ 3733038 w 10515600"/>
              <a:gd name="connsiteY6" fmla="*/ 0 h 5416094"/>
              <a:gd name="connsiteX7" fmla="*/ 4179951 w 10515600"/>
              <a:gd name="connsiteY7" fmla="*/ 0 h 5416094"/>
              <a:gd name="connsiteX8" fmla="*/ 5047488 w 10515600"/>
              <a:gd name="connsiteY8" fmla="*/ 0 h 5416094"/>
              <a:gd name="connsiteX9" fmla="*/ 5915025 w 10515600"/>
              <a:gd name="connsiteY9" fmla="*/ 0 h 5416094"/>
              <a:gd name="connsiteX10" fmla="*/ 6572250 w 10515600"/>
              <a:gd name="connsiteY10" fmla="*/ 0 h 5416094"/>
              <a:gd name="connsiteX11" fmla="*/ 7439787 w 10515600"/>
              <a:gd name="connsiteY11" fmla="*/ 0 h 5416094"/>
              <a:gd name="connsiteX12" fmla="*/ 7991856 w 10515600"/>
              <a:gd name="connsiteY12" fmla="*/ 0 h 5416094"/>
              <a:gd name="connsiteX13" fmla="*/ 8543925 w 10515600"/>
              <a:gd name="connsiteY13" fmla="*/ 0 h 5416094"/>
              <a:gd name="connsiteX14" fmla="*/ 9306306 w 10515600"/>
              <a:gd name="connsiteY14" fmla="*/ 0 h 5416094"/>
              <a:gd name="connsiteX15" fmla="*/ 9858375 w 10515600"/>
              <a:gd name="connsiteY15" fmla="*/ 0 h 5416094"/>
              <a:gd name="connsiteX16" fmla="*/ 10515600 w 10515600"/>
              <a:gd name="connsiteY16" fmla="*/ 0 h 5416094"/>
              <a:gd name="connsiteX17" fmla="*/ 10515600 w 10515600"/>
              <a:gd name="connsiteY17" fmla="*/ 785334 h 5416094"/>
              <a:gd name="connsiteX18" fmla="*/ 10515600 w 10515600"/>
              <a:gd name="connsiteY18" fmla="*/ 1516506 h 5416094"/>
              <a:gd name="connsiteX19" fmla="*/ 10515600 w 10515600"/>
              <a:gd name="connsiteY19" fmla="*/ 2247679 h 5416094"/>
              <a:gd name="connsiteX20" fmla="*/ 10515600 w 10515600"/>
              <a:gd name="connsiteY20" fmla="*/ 2762208 h 5416094"/>
              <a:gd name="connsiteX21" fmla="*/ 10515600 w 10515600"/>
              <a:gd name="connsiteY21" fmla="*/ 3330898 h 5416094"/>
              <a:gd name="connsiteX22" fmla="*/ 10515600 w 10515600"/>
              <a:gd name="connsiteY22" fmla="*/ 4062071 h 5416094"/>
              <a:gd name="connsiteX23" fmla="*/ 10515600 w 10515600"/>
              <a:gd name="connsiteY23" fmla="*/ 4684921 h 5416094"/>
              <a:gd name="connsiteX24" fmla="*/ 10515600 w 10515600"/>
              <a:gd name="connsiteY24" fmla="*/ 5416094 h 5416094"/>
              <a:gd name="connsiteX25" fmla="*/ 9753219 w 10515600"/>
              <a:gd name="connsiteY25" fmla="*/ 5416094 h 5416094"/>
              <a:gd name="connsiteX26" fmla="*/ 9411462 w 10515600"/>
              <a:gd name="connsiteY26" fmla="*/ 5416094 h 5416094"/>
              <a:gd name="connsiteX27" fmla="*/ 8754237 w 10515600"/>
              <a:gd name="connsiteY27" fmla="*/ 5416094 h 5416094"/>
              <a:gd name="connsiteX28" fmla="*/ 8307324 w 10515600"/>
              <a:gd name="connsiteY28" fmla="*/ 5416094 h 5416094"/>
              <a:gd name="connsiteX29" fmla="*/ 7544943 w 10515600"/>
              <a:gd name="connsiteY29" fmla="*/ 5416094 h 5416094"/>
              <a:gd name="connsiteX30" fmla="*/ 7098030 w 10515600"/>
              <a:gd name="connsiteY30" fmla="*/ 5416094 h 5416094"/>
              <a:gd name="connsiteX31" fmla="*/ 6335649 w 10515600"/>
              <a:gd name="connsiteY31" fmla="*/ 5416094 h 5416094"/>
              <a:gd name="connsiteX32" fmla="*/ 5993892 w 10515600"/>
              <a:gd name="connsiteY32" fmla="*/ 5416094 h 5416094"/>
              <a:gd name="connsiteX33" fmla="*/ 5231511 w 10515600"/>
              <a:gd name="connsiteY33" fmla="*/ 5416094 h 5416094"/>
              <a:gd name="connsiteX34" fmla="*/ 4784598 w 10515600"/>
              <a:gd name="connsiteY34" fmla="*/ 5416094 h 5416094"/>
              <a:gd name="connsiteX35" fmla="*/ 4442841 w 10515600"/>
              <a:gd name="connsiteY35" fmla="*/ 5416094 h 5416094"/>
              <a:gd name="connsiteX36" fmla="*/ 3995928 w 10515600"/>
              <a:gd name="connsiteY36" fmla="*/ 5416094 h 5416094"/>
              <a:gd name="connsiteX37" fmla="*/ 3233547 w 10515600"/>
              <a:gd name="connsiteY37" fmla="*/ 5416094 h 5416094"/>
              <a:gd name="connsiteX38" fmla="*/ 2786634 w 10515600"/>
              <a:gd name="connsiteY38" fmla="*/ 5416094 h 5416094"/>
              <a:gd name="connsiteX39" fmla="*/ 2444877 w 10515600"/>
              <a:gd name="connsiteY39" fmla="*/ 5416094 h 5416094"/>
              <a:gd name="connsiteX40" fmla="*/ 1997964 w 10515600"/>
              <a:gd name="connsiteY40" fmla="*/ 5416094 h 5416094"/>
              <a:gd name="connsiteX41" fmla="*/ 1445895 w 10515600"/>
              <a:gd name="connsiteY41" fmla="*/ 5416094 h 5416094"/>
              <a:gd name="connsiteX42" fmla="*/ 788670 w 10515600"/>
              <a:gd name="connsiteY42" fmla="*/ 5416094 h 5416094"/>
              <a:gd name="connsiteX43" fmla="*/ 0 w 10515600"/>
              <a:gd name="connsiteY43" fmla="*/ 5416094 h 5416094"/>
              <a:gd name="connsiteX44" fmla="*/ 0 w 10515600"/>
              <a:gd name="connsiteY44" fmla="*/ 4630760 h 5416094"/>
              <a:gd name="connsiteX45" fmla="*/ 0 w 10515600"/>
              <a:gd name="connsiteY45" fmla="*/ 3953749 h 5416094"/>
              <a:gd name="connsiteX46" fmla="*/ 0 w 10515600"/>
              <a:gd name="connsiteY46" fmla="*/ 3276737 h 5416094"/>
              <a:gd name="connsiteX47" fmla="*/ 0 w 10515600"/>
              <a:gd name="connsiteY47" fmla="*/ 2599725 h 5416094"/>
              <a:gd name="connsiteX48" fmla="*/ 0 w 10515600"/>
              <a:gd name="connsiteY48" fmla="*/ 1922713 h 5416094"/>
              <a:gd name="connsiteX49" fmla="*/ 0 w 10515600"/>
              <a:gd name="connsiteY49" fmla="*/ 1299863 h 5416094"/>
              <a:gd name="connsiteX50" fmla="*/ 0 w 10515600"/>
              <a:gd name="connsiteY50" fmla="*/ 0 h 5416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</a:cxnLst>
            <a:rect l="l" t="t" r="r" b="b"/>
            <a:pathLst>
              <a:path w="10515600" h="5416094" extrusionOk="0">
                <a:moveTo>
                  <a:pt x="0" y="0"/>
                </a:moveTo>
                <a:cubicBezTo>
                  <a:pt x="230793" y="14353"/>
                  <a:pt x="332416" y="21392"/>
                  <a:pt x="552069" y="0"/>
                </a:cubicBezTo>
                <a:cubicBezTo>
                  <a:pt x="771722" y="-21392"/>
                  <a:pt x="761737" y="-14337"/>
                  <a:pt x="893826" y="0"/>
                </a:cubicBezTo>
                <a:cubicBezTo>
                  <a:pt x="1025915" y="14337"/>
                  <a:pt x="1441584" y="-15498"/>
                  <a:pt x="1761363" y="0"/>
                </a:cubicBezTo>
                <a:cubicBezTo>
                  <a:pt x="2081142" y="15498"/>
                  <a:pt x="2111503" y="7278"/>
                  <a:pt x="2313432" y="0"/>
                </a:cubicBezTo>
                <a:cubicBezTo>
                  <a:pt x="2515361" y="-7278"/>
                  <a:pt x="2743584" y="-17845"/>
                  <a:pt x="2865501" y="0"/>
                </a:cubicBezTo>
                <a:cubicBezTo>
                  <a:pt x="2987418" y="17845"/>
                  <a:pt x="3345183" y="8208"/>
                  <a:pt x="3733038" y="0"/>
                </a:cubicBezTo>
                <a:cubicBezTo>
                  <a:pt x="4120893" y="-8208"/>
                  <a:pt x="4009066" y="-3159"/>
                  <a:pt x="4179951" y="0"/>
                </a:cubicBezTo>
                <a:cubicBezTo>
                  <a:pt x="4350836" y="3159"/>
                  <a:pt x="4735020" y="17517"/>
                  <a:pt x="5047488" y="0"/>
                </a:cubicBezTo>
                <a:cubicBezTo>
                  <a:pt x="5359956" y="-17517"/>
                  <a:pt x="5662148" y="-17777"/>
                  <a:pt x="5915025" y="0"/>
                </a:cubicBezTo>
                <a:cubicBezTo>
                  <a:pt x="6167902" y="17777"/>
                  <a:pt x="6308797" y="30350"/>
                  <a:pt x="6572250" y="0"/>
                </a:cubicBezTo>
                <a:cubicBezTo>
                  <a:pt x="6835703" y="-30350"/>
                  <a:pt x="7107419" y="-9627"/>
                  <a:pt x="7439787" y="0"/>
                </a:cubicBezTo>
                <a:cubicBezTo>
                  <a:pt x="7772155" y="9627"/>
                  <a:pt x="7844034" y="-9098"/>
                  <a:pt x="7991856" y="0"/>
                </a:cubicBezTo>
                <a:cubicBezTo>
                  <a:pt x="8139678" y="9098"/>
                  <a:pt x="8289889" y="-20239"/>
                  <a:pt x="8543925" y="0"/>
                </a:cubicBezTo>
                <a:cubicBezTo>
                  <a:pt x="8797961" y="20239"/>
                  <a:pt x="8994198" y="29575"/>
                  <a:pt x="9306306" y="0"/>
                </a:cubicBezTo>
                <a:cubicBezTo>
                  <a:pt x="9618414" y="-29575"/>
                  <a:pt x="9739118" y="-23835"/>
                  <a:pt x="9858375" y="0"/>
                </a:cubicBezTo>
                <a:cubicBezTo>
                  <a:pt x="9977632" y="23835"/>
                  <a:pt x="10370488" y="-4069"/>
                  <a:pt x="10515600" y="0"/>
                </a:cubicBezTo>
                <a:cubicBezTo>
                  <a:pt x="10524919" y="196329"/>
                  <a:pt x="10549062" y="488432"/>
                  <a:pt x="10515600" y="785334"/>
                </a:cubicBezTo>
                <a:cubicBezTo>
                  <a:pt x="10482138" y="1082236"/>
                  <a:pt x="10536385" y="1323726"/>
                  <a:pt x="10515600" y="1516506"/>
                </a:cubicBezTo>
                <a:cubicBezTo>
                  <a:pt x="10494815" y="1709286"/>
                  <a:pt x="10546328" y="2097632"/>
                  <a:pt x="10515600" y="2247679"/>
                </a:cubicBezTo>
                <a:cubicBezTo>
                  <a:pt x="10484872" y="2397726"/>
                  <a:pt x="10491771" y="2577292"/>
                  <a:pt x="10515600" y="2762208"/>
                </a:cubicBezTo>
                <a:cubicBezTo>
                  <a:pt x="10539429" y="2947124"/>
                  <a:pt x="10511007" y="3105736"/>
                  <a:pt x="10515600" y="3330898"/>
                </a:cubicBezTo>
                <a:cubicBezTo>
                  <a:pt x="10520194" y="3556060"/>
                  <a:pt x="10497393" y="3882611"/>
                  <a:pt x="10515600" y="4062071"/>
                </a:cubicBezTo>
                <a:cubicBezTo>
                  <a:pt x="10533807" y="4241531"/>
                  <a:pt x="10544791" y="4505155"/>
                  <a:pt x="10515600" y="4684921"/>
                </a:cubicBezTo>
                <a:cubicBezTo>
                  <a:pt x="10486410" y="4864687"/>
                  <a:pt x="10497356" y="5246484"/>
                  <a:pt x="10515600" y="5416094"/>
                </a:cubicBezTo>
                <a:cubicBezTo>
                  <a:pt x="10245623" y="5445692"/>
                  <a:pt x="10029676" y="5415505"/>
                  <a:pt x="9753219" y="5416094"/>
                </a:cubicBezTo>
                <a:cubicBezTo>
                  <a:pt x="9476762" y="5416683"/>
                  <a:pt x="9553148" y="5422760"/>
                  <a:pt x="9411462" y="5416094"/>
                </a:cubicBezTo>
                <a:cubicBezTo>
                  <a:pt x="9269776" y="5409428"/>
                  <a:pt x="8927709" y="5385012"/>
                  <a:pt x="8754237" y="5416094"/>
                </a:cubicBezTo>
                <a:cubicBezTo>
                  <a:pt x="8580766" y="5447176"/>
                  <a:pt x="8413264" y="5410024"/>
                  <a:pt x="8307324" y="5416094"/>
                </a:cubicBezTo>
                <a:cubicBezTo>
                  <a:pt x="8201384" y="5422164"/>
                  <a:pt x="7912690" y="5421686"/>
                  <a:pt x="7544943" y="5416094"/>
                </a:cubicBezTo>
                <a:cubicBezTo>
                  <a:pt x="7177196" y="5410502"/>
                  <a:pt x="7304235" y="5418502"/>
                  <a:pt x="7098030" y="5416094"/>
                </a:cubicBezTo>
                <a:cubicBezTo>
                  <a:pt x="6891825" y="5413686"/>
                  <a:pt x="6541479" y="5434609"/>
                  <a:pt x="6335649" y="5416094"/>
                </a:cubicBezTo>
                <a:cubicBezTo>
                  <a:pt x="6129819" y="5397579"/>
                  <a:pt x="6106541" y="5402791"/>
                  <a:pt x="5993892" y="5416094"/>
                </a:cubicBezTo>
                <a:cubicBezTo>
                  <a:pt x="5881243" y="5429397"/>
                  <a:pt x="5545248" y="5437743"/>
                  <a:pt x="5231511" y="5416094"/>
                </a:cubicBezTo>
                <a:cubicBezTo>
                  <a:pt x="4917774" y="5394445"/>
                  <a:pt x="4963237" y="5426599"/>
                  <a:pt x="4784598" y="5416094"/>
                </a:cubicBezTo>
                <a:cubicBezTo>
                  <a:pt x="4605959" y="5405589"/>
                  <a:pt x="4605904" y="5406658"/>
                  <a:pt x="4442841" y="5416094"/>
                </a:cubicBezTo>
                <a:cubicBezTo>
                  <a:pt x="4279778" y="5425530"/>
                  <a:pt x="4177180" y="5426138"/>
                  <a:pt x="3995928" y="5416094"/>
                </a:cubicBezTo>
                <a:cubicBezTo>
                  <a:pt x="3814676" y="5406050"/>
                  <a:pt x="3516440" y="5429234"/>
                  <a:pt x="3233547" y="5416094"/>
                </a:cubicBezTo>
                <a:cubicBezTo>
                  <a:pt x="2950654" y="5402954"/>
                  <a:pt x="2884354" y="5436103"/>
                  <a:pt x="2786634" y="5416094"/>
                </a:cubicBezTo>
                <a:cubicBezTo>
                  <a:pt x="2688914" y="5396085"/>
                  <a:pt x="2522958" y="5423232"/>
                  <a:pt x="2444877" y="5416094"/>
                </a:cubicBezTo>
                <a:cubicBezTo>
                  <a:pt x="2366796" y="5408956"/>
                  <a:pt x="2104768" y="5395479"/>
                  <a:pt x="1997964" y="5416094"/>
                </a:cubicBezTo>
                <a:cubicBezTo>
                  <a:pt x="1891160" y="5436709"/>
                  <a:pt x="1573016" y="5412376"/>
                  <a:pt x="1445895" y="5416094"/>
                </a:cubicBezTo>
                <a:cubicBezTo>
                  <a:pt x="1318774" y="5419812"/>
                  <a:pt x="986443" y="5400529"/>
                  <a:pt x="788670" y="5416094"/>
                </a:cubicBezTo>
                <a:cubicBezTo>
                  <a:pt x="590897" y="5431659"/>
                  <a:pt x="363709" y="5381266"/>
                  <a:pt x="0" y="5416094"/>
                </a:cubicBezTo>
                <a:cubicBezTo>
                  <a:pt x="-22973" y="5218643"/>
                  <a:pt x="-26699" y="5010779"/>
                  <a:pt x="0" y="4630760"/>
                </a:cubicBezTo>
                <a:cubicBezTo>
                  <a:pt x="26699" y="4250741"/>
                  <a:pt x="-15389" y="4196664"/>
                  <a:pt x="0" y="3953749"/>
                </a:cubicBezTo>
                <a:cubicBezTo>
                  <a:pt x="15389" y="3710834"/>
                  <a:pt x="468" y="3611311"/>
                  <a:pt x="0" y="3276737"/>
                </a:cubicBezTo>
                <a:cubicBezTo>
                  <a:pt x="-468" y="2942163"/>
                  <a:pt x="15360" y="2781998"/>
                  <a:pt x="0" y="2599725"/>
                </a:cubicBezTo>
                <a:cubicBezTo>
                  <a:pt x="-15360" y="2417452"/>
                  <a:pt x="14816" y="2100232"/>
                  <a:pt x="0" y="1922713"/>
                </a:cubicBezTo>
                <a:cubicBezTo>
                  <a:pt x="-14816" y="1745194"/>
                  <a:pt x="-24648" y="1604167"/>
                  <a:pt x="0" y="1299863"/>
                </a:cubicBezTo>
                <a:cubicBezTo>
                  <a:pt x="24648" y="995559"/>
                  <a:pt x="2182" y="279525"/>
                  <a:pt x="0" y="0"/>
                </a:cubicBezTo>
                <a:close/>
              </a:path>
            </a:pathLst>
          </a:custGeom>
          <a:noFill/>
          <a:ln w="4762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sp useBgFill="1">
        <p:nvSpPr>
          <p:cNvPr id="85" name="Rectangle 69">
            <a:extLst>
              <a:ext uri="{FF2B5EF4-FFF2-40B4-BE49-F238E27FC236}">
                <a16:creationId xmlns:a16="http://schemas.microsoft.com/office/drawing/2014/main" id="{3A930249-8242-4E2B-AF17-C018264883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642276" y="914400"/>
            <a:ext cx="8831248" cy="496881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sp>
        <p:nvSpPr>
          <p:cNvPr id="86" name="Rectangle 71">
            <a:extLst>
              <a:ext uri="{FF2B5EF4-FFF2-40B4-BE49-F238E27FC236}">
                <a16:creationId xmlns:a16="http://schemas.microsoft.com/office/drawing/2014/main" id="{A5BDD999-C5E1-4B3E-A710-7686738191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778045" y="1045957"/>
            <a:ext cx="8566567" cy="471022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3E884DD-7A95-409A-97FF-A74E0437EC9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80000"/>
          </a:blip>
          <a:srcRect l="20562" r="22560" b="-1"/>
          <a:stretch/>
        </p:blipFill>
        <p:spPr>
          <a:xfrm>
            <a:off x="1591390" y="876205"/>
            <a:ext cx="4440947" cy="4879978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F9A6C2D-E6C9-4A49-B7A8-52CD2C85EB9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8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0" r="45780"/>
          <a:stretch/>
        </p:blipFill>
        <p:spPr>
          <a:xfrm>
            <a:off x="6805207" y="1046902"/>
            <a:ext cx="4285607" cy="4709281"/>
          </a:xfrm>
          <a:prstGeom prst="rect">
            <a:avLst/>
          </a:prstGeom>
        </p:spPr>
      </p:pic>
      <p:sp>
        <p:nvSpPr>
          <p:cNvPr id="53" name="TextBox 9">
            <a:extLst>
              <a:ext uri="{FF2B5EF4-FFF2-40B4-BE49-F238E27FC236}">
                <a16:creationId xmlns:a16="http://schemas.microsoft.com/office/drawing/2014/main" id="{4F332B8D-A232-4FCC-A42A-07919C90A155}"/>
              </a:ext>
            </a:extLst>
          </p:cNvPr>
          <p:cNvSpPr txBox="1"/>
          <p:nvPr/>
        </p:nvSpPr>
        <p:spPr>
          <a:xfrm>
            <a:off x="7348596" y="1017837"/>
            <a:ext cx="3413592" cy="160901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pPr marL="0" marR="0" lvl="0" indent="0" algn="l" defTabSz="65836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43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16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 bold"/>
                <a:ea typeface="+mn-ea"/>
                <a:cs typeface="+mn-cs"/>
              </a:rPr>
              <a:t>75% of our workforce will be Millennials by 2030</a:t>
            </a:r>
          </a:p>
          <a:p>
            <a:pPr marL="0" marR="0" lvl="0" indent="0" algn="l" defTabSz="658368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432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16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 bold"/>
                <a:ea typeface="+mn-ea"/>
                <a:cs typeface="+mn-cs"/>
              </a:rPr>
              <a:t>Source: U.S. Bureau of Labor Statistics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RR Pioneer bold"/>
              <a:ea typeface="+mn-ea"/>
              <a:cs typeface="+mn-cs"/>
            </a:endParaRPr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FBADF715-066F-4F07-A5CC-474095C524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880905" y="5519759"/>
            <a:ext cx="1987528" cy="264544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marL="0" marR="0" lvl="0" indent="0" algn="r" defTabSz="65836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32"/>
              </a:spcAft>
              <a:buClrTx/>
              <a:buSzTx/>
              <a:buFontTx/>
              <a:buNone/>
              <a:tabLst/>
              <a:defRPr/>
            </a:pPr>
            <a:fld id="{6F59B429-512E-4592-B480-D2818264A486}" type="slidenum">
              <a:rPr kumimoji="0" lang="en-US" sz="864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pPr marL="0" marR="0" lvl="0" indent="0" algn="r" defTabSz="65836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32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38349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Placeholder 33">
            <a:extLst>
              <a:ext uri="{FF2B5EF4-FFF2-40B4-BE49-F238E27FC236}">
                <a16:creationId xmlns:a16="http://schemas.microsoft.com/office/drawing/2014/main" id="{D79466AF-50CA-43E4-98DC-DFB7AD3D79F9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 rotWithShape="1">
          <a:blip r:embed="rId3"/>
          <a:srcRect t="22943" b="22943"/>
          <a:stretch/>
        </p:blipFill>
        <p:spPr>
          <a:prstGeom prst="rect">
            <a:avLst/>
          </a:prstGeo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9C78451F-AF87-4D65-B520-DDD60A6942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hanging the Percept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E2F8AF-2CAE-45F0-8E6D-ECC0E54EE2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Private | © 2022 Rolls-Royce | Not Subject to Export Contro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4CA077-8E5B-4060-B133-378E056E8B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59B429-512E-4592-B480-D2818264A486}" type="slidenum">
              <a:rPr lang="en-GB" smtClean="0"/>
              <a:t>4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6711677-DE04-48F0-B812-BB4E5E974542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/>
        <p:txBody>
          <a:bodyPr/>
          <a:lstStyle/>
          <a:p>
            <a:r>
              <a:rPr lang="en-GB" dirty="0"/>
              <a:t>COP 26</a:t>
            </a:r>
          </a:p>
        </p:txBody>
      </p:sp>
      <p:pic>
        <p:nvPicPr>
          <p:cNvPr id="37" name="Picture Placeholder 36">
            <a:extLst>
              <a:ext uri="{FF2B5EF4-FFF2-40B4-BE49-F238E27FC236}">
                <a16:creationId xmlns:a16="http://schemas.microsoft.com/office/drawing/2014/main" id="{99A2F1B4-4CFC-46B0-9311-692C942BD709}"/>
              </a:ext>
            </a:extLst>
          </p:cNvPr>
          <p:cNvPicPr>
            <a:picLocks noGrp="1" noChangeAspect="1"/>
          </p:cNvPicPr>
          <p:nvPr>
            <p:ph type="pic" sz="quarter" idx="48"/>
          </p:nvPr>
        </p:nvPicPr>
        <p:blipFill rotWithShape="1">
          <a:blip r:embed="rId4"/>
          <a:srcRect l="3767" r="3767"/>
          <a:stretch/>
        </p:blipFill>
        <p:spPr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68A85CED-EB4C-4759-BEE9-786C4DB7ECCE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024000" y="2337000"/>
            <a:ext cx="9168000" cy="2184000"/>
          </a:xfrm>
        </p:spPr>
        <p:txBody>
          <a:bodyPr>
            <a:normAutofit lnSpcReduction="10000"/>
          </a:bodyPr>
          <a:lstStyle/>
          <a:p>
            <a:r>
              <a:rPr lang="en-GB" dirty="0"/>
              <a:t>From engine compatibility with lower carbon alternative fuels </a:t>
            </a:r>
          </a:p>
          <a:p>
            <a:r>
              <a:rPr lang="en-GB" dirty="0"/>
              <a:t>and the electrification of flight; to building small modular nuclear </a:t>
            </a:r>
          </a:p>
          <a:p>
            <a:r>
              <a:rPr lang="en-GB" dirty="0"/>
              <a:t>power stations and microgrids to provide power in new ways; </a:t>
            </a:r>
          </a:p>
          <a:p>
            <a:r>
              <a:rPr lang="en-GB" dirty="0"/>
              <a:t>the potential of net zero for our future is enormous. </a:t>
            </a:r>
          </a:p>
          <a:p>
            <a:r>
              <a:rPr lang="en-GB" dirty="0"/>
              <a:t>We all have an important role to play is achieving net zero – both </a:t>
            </a:r>
          </a:p>
          <a:p>
            <a:r>
              <a:rPr lang="en-GB" dirty="0"/>
              <a:t>in the workplace and at home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1F782A90-2736-4D0C-A90E-152BD8223699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/>
        <p:txBody>
          <a:bodyPr/>
          <a:lstStyle/>
          <a:p>
            <a:r>
              <a:rPr lang="en-GB" dirty="0"/>
              <a:t>Inspiring the next generation in STEM</a:t>
            </a:r>
          </a:p>
        </p:txBody>
      </p:sp>
    </p:spTree>
    <p:extLst>
      <p:ext uri="{BB962C8B-B14F-4D97-AF65-F5344CB8AC3E}">
        <p14:creationId xmlns:p14="http://schemas.microsoft.com/office/powerpoint/2010/main" val="22432502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250">
            <a:extLst>
              <a:ext uri="{FF2B5EF4-FFF2-40B4-BE49-F238E27FC236}">
                <a16:creationId xmlns:a16="http://schemas.microsoft.com/office/drawing/2014/main" id="{AF4C4CB7-C553-4968-B84C-4ED0F4668C01}"/>
              </a:ext>
            </a:extLst>
          </p:cNvPr>
          <p:cNvSpPr txBox="1">
            <a:spLocks/>
          </p:cNvSpPr>
          <p:nvPr/>
        </p:nvSpPr>
        <p:spPr>
          <a:xfrm>
            <a:off x="300045" y="1211037"/>
            <a:ext cx="2382196" cy="127423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685800" rtl="0" eaLnBrk="1" latinLnBrk="0" hangingPunct="1">
              <a:defRPr lang="en-GB" sz="700" kern="1200" smtClean="0">
                <a:solidFill>
                  <a:srgbClr val="666666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33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RR Pioneer Light Condensed" panose="020B0306050201060103" pitchFamily="34" charset="0"/>
              <a:ea typeface="+mn-ea"/>
              <a:cs typeface="+mn-cs"/>
            </a:endParaRPr>
          </a:p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933" b="0" i="0" u="none" strike="noStrike" kern="1200" cap="none" spc="0" normalizeH="0" baseline="0" noProof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RR Pioneer Light Condensed" panose="020B0306050201060103" pitchFamily="34" charset="0"/>
              <a:ea typeface="+mn-ea"/>
              <a:cs typeface="+mn-cs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2B35CD2-D83B-4ECD-AC33-3C606C6E7927}"/>
              </a:ext>
            </a:extLst>
          </p:cNvPr>
          <p:cNvSpPr txBox="1">
            <a:spLocks/>
          </p:cNvSpPr>
          <p:nvPr/>
        </p:nvSpPr>
        <p:spPr>
          <a:xfrm>
            <a:off x="300045" y="1414237"/>
            <a:ext cx="2723615" cy="1274233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chemeClr val="bg2"/>
              </a:buClr>
              <a:buFont typeface="Arial" panose="020B0604020202020204" pitchFamily="34" charset="0"/>
              <a:buNone/>
              <a:defRPr lang="en-GB" sz="1500" kern="1200" dirty="0">
                <a:solidFill>
                  <a:schemeClr val="tx2"/>
                </a:solidFill>
                <a:latin typeface="RR Pioneer Bold" panose="020B0803050201040103" pitchFamily="34" charset="0"/>
                <a:ea typeface="+mn-ea"/>
                <a:cs typeface="Arial" panose="020B0604020202020204" pitchFamily="34" charset="0"/>
              </a:defRPr>
            </a:lvl1pPr>
            <a:lvl2pPr marL="51435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2"/>
              </a:buClr>
              <a:buFont typeface="Arial" panose="020B0604020202020204" pitchFamily="34" charset="0"/>
              <a:buNone/>
              <a:defRPr lang="en-US" sz="15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85725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2"/>
              </a:buClr>
              <a:buFont typeface="Arial" panose="020B0604020202020204" pitchFamily="34" charset="0"/>
              <a:buNone/>
              <a:defRPr lang="en-US" sz="15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0015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2"/>
              </a:buClr>
              <a:buFont typeface="Arial" panose="020B0604020202020204" pitchFamily="34" charset="0"/>
              <a:buNone/>
              <a:defRPr lang="en-US" sz="15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54305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bg2"/>
              </a:buClr>
              <a:buFont typeface="Arial" panose="020B0604020202020204" pitchFamily="34" charset="0"/>
              <a:buNone/>
              <a:defRPr lang="en-GB" sz="15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10069F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rgbClr val="10069F"/>
                </a:solidFill>
                <a:effectLst/>
                <a:uLnTx/>
                <a:uFillTx/>
                <a:latin typeface="RR Pioneer Light Condensed" panose="020B0306050201060103" pitchFamily="34" charset="0"/>
                <a:ea typeface="+mn-ea"/>
                <a:cs typeface="Arial" panose="020B0604020202020204" pitchFamily="34" charset="0"/>
              </a:rPr>
              <a:t>Developing Skills in RR</a:t>
            </a:r>
            <a:endParaRPr kumimoji="0" lang="en-GB" sz="2800" b="0" i="0" u="none" strike="noStrike" kern="1200" cap="none" spc="0" normalizeH="0" baseline="0" noProof="0" dirty="0">
              <a:ln>
                <a:noFill/>
              </a:ln>
              <a:solidFill>
                <a:srgbClr val="10069F"/>
              </a:solidFill>
              <a:effectLst/>
              <a:uLnTx/>
              <a:uFillTx/>
              <a:latin typeface="RR Pioneer Light Condensed" panose="020B0306050201060103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3A1B3186-18B6-4C3F-9ADD-9CE3DDEA7F21}"/>
              </a:ext>
            </a:extLst>
          </p:cNvPr>
          <p:cNvSpPr txBox="1">
            <a:spLocks/>
          </p:cNvSpPr>
          <p:nvPr/>
        </p:nvSpPr>
        <p:spPr>
          <a:xfrm>
            <a:off x="406146" y="3123122"/>
            <a:ext cx="2382196" cy="258011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700" kern="1200">
                <a:solidFill>
                  <a:srgbClr val="666666"/>
                </a:solidFill>
                <a:latin typeface="RR Pioneer Light Condensed" panose="020B0306050201060103" pitchFamily="34" charset="0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Skills can be seen as the new currency in the workplace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They are the connection between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Talent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,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Recruitment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 and </a:t>
            </a: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Learning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666666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pic>
        <p:nvPicPr>
          <p:cNvPr id="6" name="Picture 5" descr="A person holding a sign&#10;&#10;Description automatically generated with medium confidence">
            <a:extLst>
              <a:ext uri="{FF2B5EF4-FFF2-40B4-BE49-F238E27FC236}">
                <a16:creationId xmlns:a16="http://schemas.microsoft.com/office/drawing/2014/main" id="{DC8F586F-0066-4217-9B26-C207B01A27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9665" y="3421461"/>
            <a:ext cx="2360659" cy="15723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 descr="Two people looking at a computer screen&#10;&#10;Description automatically generated with low confidence">
            <a:extLst>
              <a:ext uri="{FF2B5EF4-FFF2-40B4-BE49-F238E27FC236}">
                <a16:creationId xmlns:a16="http://schemas.microsoft.com/office/drawing/2014/main" id="{49CE7219-5DB8-430A-A066-A808397C6D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9665" y="5055567"/>
            <a:ext cx="2360659" cy="15723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" name="Picture 7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81D0EC80-80E1-433A-8B50-BDD1BB98371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6953" y="1787353"/>
            <a:ext cx="2360659" cy="15723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04F94AA-FFC0-4396-9571-EFCD68F01AA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8784" r="6906"/>
          <a:stretch/>
        </p:blipFill>
        <p:spPr>
          <a:xfrm>
            <a:off x="9096953" y="152610"/>
            <a:ext cx="2357691" cy="157300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9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4A35E962-8CEB-4BE5-BCE8-A7B2F21C975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4537" y="2635274"/>
            <a:ext cx="2360659" cy="15723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38E8BAB-9851-4E5D-B2AB-C56BFF5AB658}"/>
              </a:ext>
            </a:extLst>
          </p:cNvPr>
          <p:cNvCxnSpPr>
            <a:cxnSpLocks/>
            <a:stCxn id="10" idx="3"/>
            <a:endCxn id="8" idx="1"/>
          </p:cNvCxnSpPr>
          <p:nvPr/>
        </p:nvCxnSpPr>
        <p:spPr>
          <a:xfrm flipV="1">
            <a:off x="5655196" y="2573541"/>
            <a:ext cx="3441757" cy="847921"/>
          </a:xfrm>
          <a:prstGeom prst="line">
            <a:avLst/>
          </a:prstGeom>
          <a:ln w="571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C3690B62-4821-42F9-8680-01F6F2B0D179}"/>
              </a:ext>
            </a:extLst>
          </p:cNvPr>
          <p:cNvCxnSpPr>
            <a:cxnSpLocks/>
            <a:stCxn id="10" idx="3"/>
            <a:endCxn id="7" idx="1"/>
          </p:cNvCxnSpPr>
          <p:nvPr/>
        </p:nvCxnSpPr>
        <p:spPr>
          <a:xfrm>
            <a:off x="5655196" y="3421462"/>
            <a:ext cx="3444469" cy="2420293"/>
          </a:xfrm>
          <a:prstGeom prst="line">
            <a:avLst/>
          </a:prstGeom>
          <a:ln w="571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FBC4BF8-22D4-4B49-923D-150C6C799836}"/>
              </a:ext>
            </a:extLst>
          </p:cNvPr>
          <p:cNvCxnSpPr>
            <a:cxnSpLocks/>
            <a:stCxn id="24" idx="7"/>
            <a:endCxn id="9" idx="1"/>
          </p:cNvCxnSpPr>
          <p:nvPr/>
        </p:nvCxnSpPr>
        <p:spPr>
          <a:xfrm flipV="1">
            <a:off x="7176137" y="939116"/>
            <a:ext cx="1920816" cy="1920113"/>
          </a:xfrm>
          <a:prstGeom prst="line">
            <a:avLst/>
          </a:prstGeom>
          <a:ln w="571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E14632C1-2D2F-4D4D-AC03-E833994E801D}"/>
              </a:ext>
            </a:extLst>
          </p:cNvPr>
          <p:cNvCxnSpPr>
            <a:cxnSpLocks/>
            <a:stCxn id="24" idx="5"/>
            <a:endCxn id="6" idx="1"/>
          </p:cNvCxnSpPr>
          <p:nvPr/>
        </p:nvCxnSpPr>
        <p:spPr>
          <a:xfrm>
            <a:off x="7176137" y="3285819"/>
            <a:ext cx="1923528" cy="921829"/>
          </a:xfrm>
          <a:prstGeom prst="line">
            <a:avLst/>
          </a:prstGeom>
          <a:ln w="57150"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>
            <a:extLst>
              <a:ext uri="{FF2B5EF4-FFF2-40B4-BE49-F238E27FC236}">
                <a16:creationId xmlns:a16="http://schemas.microsoft.com/office/drawing/2014/main" id="{F7DBC6CF-075B-4ABD-972C-6B1ED3D39586}"/>
              </a:ext>
            </a:extLst>
          </p:cNvPr>
          <p:cNvSpPr/>
          <p:nvPr/>
        </p:nvSpPr>
        <p:spPr>
          <a:xfrm>
            <a:off x="6661197" y="2770878"/>
            <a:ext cx="603292" cy="603292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6DFF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80E85362-5263-45DE-B8B0-7B7CFF0052A1}"/>
              </a:ext>
            </a:extLst>
          </p:cNvPr>
          <p:cNvSpPr/>
          <p:nvPr/>
        </p:nvSpPr>
        <p:spPr>
          <a:xfrm>
            <a:off x="6661197" y="4051441"/>
            <a:ext cx="603292" cy="603292"/>
          </a:xfrm>
          <a:prstGeom prst="ellipse">
            <a:avLst/>
          </a:prstGeom>
          <a:solidFill>
            <a:schemeClr val="tx2"/>
          </a:solidFill>
          <a:ln>
            <a:solidFill>
              <a:schemeClr val="tx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6DFF"/>
              </a:solidFill>
              <a:effectLst/>
              <a:uLnTx/>
              <a:uFillTx/>
              <a:latin typeface="RR Pionee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3DB2321-BD3A-40F3-97B5-1B184425A020}"/>
              </a:ext>
            </a:extLst>
          </p:cNvPr>
          <p:cNvSpPr txBox="1"/>
          <p:nvPr/>
        </p:nvSpPr>
        <p:spPr>
          <a:xfrm>
            <a:off x="5732916" y="1900095"/>
            <a:ext cx="17336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Skill interes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85EF7BB-4950-4F13-A2BC-40F04BDF5B4F}"/>
              </a:ext>
            </a:extLst>
          </p:cNvPr>
          <p:cNvSpPr txBox="1"/>
          <p:nvPr/>
        </p:nvSpPr>
        <p:spPr>
          <a:xfrm>
            <a:off x="5857615" y="4756031"/>
            <a:ext cx="15184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Skills</a:t>
            </a:r>
          </a:p>
        </p:txBody>
      </p:sp>
    </p:spTree>
    <p:extLst>
      <p:ext uri="{BB962C8B-B14F-4D97-AF65-F5344CB8AC3E}">
        <p14:creationId xmlns:p14="http://schemas.microsoft.com/office/powerpoint/2010/main" val="15483993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9156E40-4143-4873-93B8-1742CC20CF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1329576"/>
            <a:ext cx="2380800" cy="1161600"/>
          </a:xfrm>
        </p:spPr>
        <p:txBody>
          <a:bodyPr>
            <a:normAutofit/>
          </a:bodyPr>
          <a:lstStyle/>
          <a:p>
            <a:r>
              <a:rPr lang="en-GB" sz="3600" dirty="0">
                <a:solidFill>
                  <a:srgbClr val="10069F"/>
                </a:solidFill>
                <a:latin typeface="RR Pioneer Light Condensed" panose="020B0306050201060103" pitchFamily="34" charset="0"/>
              </a:rPr>
              <a:t>What is a “Gig”?</a:t>
            </a:r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DC3D824D-C72A-45A4-94C0-968AD8161FC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8391385"/>
              </p:ext>
            </p:extLst>
          </p:nvPr>
        </p:nvGraphicFramePr>
        <p:xfrm>
          <a:off x="3499356" y="935794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6" name="Graphic 15" descr="Upward trend">
            <a:extLst>
              <a:ext uri="{FF2B5EF4-FFF2-40B4-BE49-F238E27FC236}">
                <a16:creationId xmlns:a16="http://schemas.microsoft.com/office/drawing/2014/main" id="{90A192BE-4727-42B3-BDFF-A6FD48627AC0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075453" y="3922087"/>
            <a:ext cx="914400" cy="914400"/>
          </a:xfrm>
          <a:prstGeom prst="rect">
            <a:avLst/>
          </a:prstGeom>
          <a:effectLst/>
        </p:spPr>
      </p:pic>
      <p:pic>
        <p:nvPicPr>
          <p:cNvPr id="18" name="Graphic 17" descr="Clock">
            <a:extLst>
              <a:ext uri="{FF2B5EF4-FFF2-40B4-BE49-F238E27FC236}">
                <a16:creationId xmlns:a16="http://schemas.microsoft.com/office/drawing/2014/main" id="{51F2480B-8B44-429C-91BD-BF7309E5BF1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989139" y="1209259"/>
            <a:ext cx="914400" cy="914400"/>
          </a:xfrm>
          <a:prstGeom prst="rect">
            <a:avLst/>
          </a:prstGeom>
          <a:effectLst/>
        </p:spPr>
      </p:pic>
      <p:pic>
        <p:nvPicPr>
          <p:cNvPr id="19" name="Graphic 18" descr="Scales of justice">
            <a:extLst>
              <a:ext uri="{FF2B5EF4-FFF2-40B4-BE49-F238E27FC236}">
                <a16:creationId xmlns:a16="http://schemas.microsoft.com/office/drawing/2014/main" id="{CB44A42A-8FEB-4C44-8439-CCC521CCE11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300577" y="1220836"/>
            <a:ext cx="914400" cy="914400"/>
          </a:xfrm>
          <a:prstGeom prst="rect">
            <a:avLst/>
          </a:prstGeom>
          <a:effectLst/>
        </p:spPr>
      </p:pic>
      <p:pic>
        <p:nvPicPr>
          <p:cNvPr id="20" name="Graphic 19" descr="Connections">
            <a:extLst>
              <a:ext uri="{FF2B5EF4-FFF2-40B4-BE49-F238E27FC236}">
                <a16:creationId xmlns:a16="http://schemas.microsoft.com/office/drawing/2014/main" id="{7253331D-7BDD-4689-8409-9BA85A3C0F2F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8995777" y="3922087"/>
            <a:ext cx="1219200" cy="1219200"/>
          </a:xfrm>
          <a:prstGeom prst="rect">
            <a:avLst/>
          </a:prstGeom>
          <a:effectLst/>
        </p:spPr>
      </p:pic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B8AA6BE5-E67C-412D-BA27-8FE5129043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467390" y="6473636"/>
            <a:ext cx="1223962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666666"/>
                </a:solidFill>
                <a:effectLst/>
                <a:uLnTx/>
                <a:uFillTx/>
                <a:latin typeface="RR Pioneer"/>
                <a:ea typeface="+mn-ea"/>
                <a:cs typeface="+mn-cs"/>
              </a:rPr>
              <a:t>© 2023 Rolls-Royce</a:t>
            </a:r>
          </a:p>
        </p:txBody>
      </p:sp>
    </p:spTree>
    <p:extLst>
      <p:ext uri="{BB962C8B-B14F-4D97-AF65-F5344CB8AC3E}">
        <p14:creationId xmlns:p14="http://schemas.microsoft.com/office/powerpoint/2010/main" val="2101348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RR Template">
  <a:themeElements>
    <a:clrScheme name="Custom 35">
      <a:dk1>
        <a:srgbClr val="000000"/>
      </a:dk1>
      <a:lt1>
        <a:srgbClr val="FFFFFF"/>
      </a:lt1>
      <a:dk2>
        <a:srgbClr val="10069F"/>
      </a:dk2>
      <a:lt2>
        <a:srgbClr val="006DFF"/>
      </a:lt2>
      <a:accent1>
        <a:srgbClr val="004A50"/>
      </a:accent1>
      <a:accent2>
        <a:srgbClr val="034F00"/>
      </a:accent2>
      <a:accent3>
        <a:srgbClr val="D83F11"/>
      </a:accent3>
      <a:accent4>
        <a:srgbClr val="880E4F"/>
      </a:accent4>
      <a:accent5>
        <a:srgbClr val="58099C"/>
      </a:accent5>
      <a:accent6>
        <a:srgbClr val="819C00"/>
      </a:accent6>
      <a:hlink>
        <a:srgbClr val="D83F11"/>
      </a:hlink>
      <a:folHlink>
        <a:srgbClr val="E21D60"/>
      </a:folHlink>
    </a:clrScheme>
    <a:fontScheme name="Custom 24">
      <a:majorFont>
        <a:latin typeface="RR Pioneer bold"/>
        <a:ea typeface=""/>
        <a:cs typeface=""/>
      </a:majorFont>
      <a:minorFont>
        <a:latin typeface="RR Pione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Rolls Royce Blue">
      <a:srgbClr val="10069F"/>
    </a:custClr>
    <a:custClr name="Cobalt Blue">
      <a:srgbClr val="006DFF"/>
    </a:custClr>
    <a:custClr name="Light Cobalt Blue">
      <a:srgbClr val="4F98FF"/>
    </a:custClr>
    <a:custClr name="Grey 1">
      <a:srgbClr val="EFEFF4"/>
    </a:custClr>
    <a:custClr name="Grey 2">
      <a:srgbClr val="C8C7CC"/>
    </a:custClr>
    <a:custClr name="Grey 3">
      <a:srgbClr val="8A8A8F"/>
    </a:custClr>
    <a:custClr name="Grey 4">
      <a:srgbClr val="666666"/>
    </a:custClr>
    <a:custClr name="Dark Green">
      <a:srgbClr val="034F00"/>
    </a:custClr>
    <a:custClr name="Green">
      <a:srgbClr val="819C00"/>
    </a:custClr>
    <a:custClr name="Light Green">
      <a:srgbClr val="C4DB3E"/>
    </a:custClr>
    <a:custClr name="Extra Light Green">
      <a:srgbClr val="E5F08D"/>
    </a:custClr>
    <a:custClr name="Dark Orange">
      <a:srgbClr val="9F0000"/>
    </a:custClr>
    <a:custClr name="Orange">
      <a:srgbClr val="DB3F11"/>
    </a:custClr>
    <a:custClr name="Light Orange">
      <a:srgbClr val="FF7140"/>
    </a:custClr>
    <a:custClr name="Extra Light Orange">
      <a:srgbClr val="FFB69A"/>
    </a:custClr>
    <a:custClr name="Dark Turquoise">
      <a:srgbClr val="004A50"/>
    </a:custClr>
    <a:custClr name="Turquoise">
      <a:srgbClr val="007588"/>
    </a:custClr>
    <a:custClr name="Light Turquoise">
      <a:srgbClr val="00BFBD"/>
    </a:custClr>
    <a:custClr name="Extra Light Turquoise">
      <a:srgbClr val="8BE8DF"/>
    </a:custClr>
    <a:custClr name="Dark Magenta">
      <a:srgbClr val="880E4F"/>
    </a:custClr>
    <a:custClr name="Magenta">
      <a:srgbClr val="E21D60"/>
    </a:custClr>
    <a:custClr name="Light Magenta">
      <a:srgbClr val="FA4692"/>
    </a:custClr>
    <a:custClr name="Extra Light Magenta">
      <a:srgbClr val="FDA7C7"/>
    </a:custClr>
    <a:custClr name="Dark Violet">
      <a:srgbClr val="58009C"/>
    </a:custClr>
    <a:custClr name="Violet">
      <a:srgbClr val="8C2ACE"/>
    </a:custClr>
    <a:custClr name="Light Violet">
      <a:srgbClr val="C15EFF"/>
    </a:custClr>
    <a:custClr name="Extra Light Violet">
      <a:srgbClr val="E2AC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0_RR Template">
  <a:themeElements>
    <a:clrScheme name="RR">
      <a:dk1>
        <a:srgbClr val="000000"/>
      </a:dk1>
      <a:lt1>
        <a:sysClr val="window" lastClr="FFFFFF"/>
      </a:lt1>
      <a:dk2>
        <a:srgbClr val="10069F"/>
      </a:dk2>
      <a:lt2>
        <a:srgbClr val="006DFF"/>
      </a:lt2>
      <a:accent1>
        <a:srgbClr val="004A50"/>
      </a:accent1>
      <a:accent2>
        <a:srgbClr val="034F00"/>
      </a:accent2>
      <a:accent3>
        <a:srgbClr val="D83F11"/>
      </a:accent3>
      <a:accent4>
        <a:srgbClr val="880E4F"/>
      </a:accent4>
      <a:accent5>
        <a:srgbClr val="58099C"/>
      </a:accent5>
      <a:accent6>
        <a:srgbClr val="819C00"/>
      </a:accent6>
      <a:hlink>
        <a:srgbClr val="D83F11"/>
      </a:hlink>
      <a:folHlink>
        <a:srgbClr val="E21D60"/>
      </a:folHlink>
    </a:clrScheme>
    <a:fontScheme name="Custom 1">
      <a:majorFont>
        <a:latin typeface="RR Pioneer Bold"/>
        <a:ea typeface=""/>
        <a:cs typeface=""/>
      </a:majorFont>
      <a:minorFont>
        <a:latin typeface="RR Pione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72000" tIns="72000" rIns="72000" bIns="72000" rtlCol="0" anchor="ctr">
        <a:noAutofit/>
      </a:bodyPr>
      <a:lstStyle>
        <a:defPPr algn="r">
          <a:defRPr sz="1200" dirty="0" smtClean="0">
            <a:solidFill>
              <a:schemeClr val="bg1"/>
            </a:solidFill>
          </a:defRPr>
        </a:defPPr>
      </a:lstStyle>
    </a:txDef>
  </a:objectDefaults>
  <a:extraClrSchemeLst/>
  <a:custClrLst>
    <a:custClr name="Rolls Royce Blue">
      <a:srgbClr val="10069F"/>
    </a:custClr>
    <a:custClr name="Cobalt Blue">
      <a:srgbClr val="006DFF"/>
    </a:custClr>
    <a:custClr name="Light Cobalt Blue">
      <a:srgbClr val="4F98FF"/>
    </a:custClr>
    <a:custClr name="Grey 1">
      <a:srgbClr val="EFEFF4"/>
    </a:custClr>
    <a:custClr name="Grey 2">
      <a:srgbClr val="C8C7CC"/>
    </a:custClr>
    <a:custClr name="Grey 3">
      <a:srgbClr val="8A8A8F"/>
    </a:custClr>
    <a:custClr name="Grey 4">
      <a:srgbClr val="666666"/>
    </a:custClr>
    <a:custClr name="Dark Green">
      <a:srgbClr val="034F00"/>
    </a:custClr>
    <a:custClr name="Green">
      <a:srgbClr val="819C00"/>
    </a:custClr>
    <a:custClr name="Light Green">
      <a:srgbClr val="C4DB3E"/>
    </a:custClr>
    <a:custClr name="Extra Light Green">
      <a:srgbClr val="E5F08D"/>
    </a:custClr>
    <a:custClr name="Dark Orange">
      <a:srgbClr val="9F0000"/>
    </a:custClr>
    <a:custClr name="Orange">
      <a:srgbClr val="D83F11"/>
    </a:custClr>
    <a:custClr name="Light Orange">
      <a:srgbClr val="FF7140"/>
    </a:custClr>
    <a:custClr name="Extra Light Orange">
      <a:srgbClr val="FFB69A"/>
    </a:custClr>
    <a:custClr name="Dark Turquoise">
      <a:srgbClr val="004A50"/>
    </a:custClr>
    <a:custClr name="Turquoise">
      <a:srgbClr val="007588"/>
    </a:custClr>
    <a:custClr name="Light Turquoise">
      <a:srgbClr val="00BFBD"/>
    </a:custClr>
    <a:custClr name="Extra Light Turquoise">
      <a:srgbClr val="8BE8DF"/>
    </a:custClr>
    <a:custClr name="Dark Magenta">
      <a:srgbClr val="880E4F"/>
    </a:custClr>
    <a:custClr name="Magenta">
      <a:srgbClr val="E21D60"/>
    </a:custClr>
    <a:custClr name="Light Magenta">
      <a:srgbClr val="FA4692"/>
    </a:custClr>
    <a:custClr name="Extra Light Magenta">
      <a:srgbClr val="FDA7C7"/>
    </a:custClr>
    <a:custClr name="Dark Violet">
      <a:srgbClr val="58009C"/>
    </a:custClr>
    <a:custClr name="Violet">
      <a:srgbClr val="8C2ACE"/>
    </a:custClr>
    <a:custClr name="Light Violet">
      <a:srgbClr val="C15EFF"/>
    </a:custClr>
    <a:custClr name="Extra Light Violet">
      <a:srgbClr val="E2AC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2_RR Template">
  <a:themeElements>
    <a:clrScheme name="Custom 35">
      <a:dk1>
        <a:srgbClr val="000000"/>
      </a:dk1>
      <a:lt1>
        <a:srgbClr val="FFFFFF"/>
      </a:lt1>
      <a:dk2>
        <a:srgbClr val="10069F"/>
      </a:dk2>
      <a:lt2>
        <a:srgbClr val="006DFF"/>
      </a:lt2>
      <a:accent1>
        <a:srgbClr val="004A50"/>
      </a:accent1>
      <a:accent2>
        <a:srgbClr val="034F00"/>
      </a:accent2>
      <a:accent3>
        <a:srgbClr val="D83F11"/>
      </a:accent3>
      <a:accent4>
        <a:srgbClr val="880E4F"/>
      </a:accent4>
      <a:accent5>
        <a:srgbClr val="58099C"/>
      </a:accent5>
      <a:accent6>
        <a:srgbClr val="819C00"/>
      </a:accent6>
      <a:hlink>
        <a:srgbClr val="D83F11"/>
      </a:hlink>
      <a:folHlink>
        <a:srgbClr val="E21D60"/>
      </a:folHlink>
    </a:clrScheme>
    <a:fontScheme name="Custom 24">
      <a:majorFont>
        <a:latin typeface="RR Pioneer bold"/>
        <a:ea typeface=""/>
        <a:cs typeface=""/>
      </a:majorFont>
      <a:minorFont>
        <a:latin typeface="RR Pionee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custClrLst>
    <a:custClr name="Rolls Royce Blue">
      <a:srgbClr val="10069F"/>
    </a:custClr>
    <a:custClr name="Cobalt Blue">
      <a:srgbClr val="006DFF"/>
    </a:custClr>
    <a:custClr name="Light Cobalt Blue">
      <a:srgbClr val="4F98FF"/>
    </a:custClr>
    <a:custClr name="Grey 1">
      <a:srgbClr val="EFEFF4"/>
    </a:custClr>
    <a:custClr name="Grey 2">
      <a:srgbClr val="C8C7CC"/>
    </a:custClr>
    <a:custClr name="Grey 3">
      <a:srgbClr val="8A8A8F"/>
    </a:custClr>
    <a:custClr name="Grey 4">
      <a:srgbClr val="666666"/>
    </a:custClr>
    <a:custClr name="Dark Green">
      <a:srgbClr val="034F00"/>
    </a:custClr>
    <a:custClr name="Green">
      <a:srgbClr val="819C00"/>
    </a:custClr>
    <a:custClr name="Light Green">
      <a:srgbClr val="C4DB3E"/>
    </a:custClr>
    <a:custClr name="Extra Light Green">
      <a:srgbClr val="E5F08D"/>
    </a:custClr>
    <a:custClr name="Dark Orange">
      <a:srgbClr val="9F0000"/>
    </a:custClr>
    <a:custClr name="Orange">
      <a:srgbClr val="DB3F11"/>
    </a:custClr>
    <a:custClr name="Light Orange">
      <a:srgbClr val="FF7140"/>
    </a:custClr>
    <a:custClr name="Extra Light Orange">
      <a:srgbClr val="FFB69A"/>
    </a:custClr>
    <a:custClr name="Dark Turquoise">
      <a:srgbClr val="004A50"/>
    </a:custClr>
    <a:custClr name="Turquoise">
      <a:srgbClr val="007588"/>
    </a:custClr>
    <a:custClr name="Light Turquoise">
      <a:srgbClr val="00BFBD"/>
    </a:custClr>
    <a:custClr name="Extra Light Turquoise">
      <a:srgbClr val="8BE8DF"/>
    </a:custClr>
    <a:custClr name="Dark Magenta">
      <a:srgbClr val="880E4F"/>
    </a:custClr>
    <a:custClr name="Magenta">
      <a:srgbClr val="E21D60"/>
    </a:custClr>
    <a:custClr name="Light Magenta">
      <a:srgbClr val="FA4692"/>
    </a:custClr>
    <a:custClr name="Extra Light Magenta">
      <a:srgbClr val="FDA7C7"/>
    </a:custClr>
    <a:custClr name="Dark Violet">
      <a:srgbClr val="58009C"/>
    </a:custClr>
    <a:custClr name="Violet">
      <a:srgbClr val="8C2ACE"/>
    </a:custClr>
    <a:custClr name="Light Violet">
      <a:srgbClr val="C15EFF"/>
    </a:custClr>
    <a:custClr name="Extra Light Violet">
      <a:srgbClr val="E2AC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item1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lNTZkYWE4YS03YjI3LTQ4YWMtODVkNC1kYjY1YWNiNTgwYjYiIG9yaWdpbj0idXNlclNlbGVjdGVkIj48ZWxlbWVudCB1aWQ9Ijc2Y2I2NjQxLTY1YzktNDkyOC1iMWFhLTg0MWQxYjViZGI4NiIgdmFsdWU9IiIgeG1sbnM9Imh0dHA6Ly93d3cuYm9sZG9uamFtZXMuY29tLzIwMDgvMDEvc2llL2ludGVybmFsL2xhYmVsIiAvPjxlbGVtZW50IHVpZD0iZWM2YWJkM2ItYzBkNi00ZmE3LWE2MGEtMzQ5ZDBmODIyZTNiIiB2YWx1ZT0iIiB4bWxucz0iaHR0cDovL3d3dy5ib2xkb25qYW1lcy5jb20vMjAwOC8wMS9zaWUvaW50ZXJuYWwvbGFiZWwiIC8+PGVsZW1lbnQgdWlkPSI0NmZlMjMyOS1jMDJiLTQ0OTUtYjYyNC0xMmE0OTlkMDY5ZTIiIHZhbHVlPSIiIHhtbG5zPSJodHRwOi8vd3d3LmJvbGRvbmphbWVzLmNvbS8yMDA4LzAxL3NpZS9pbnRlcm5hbC9sYWJlbCIgLz48ZWxlbWVudCB1aWQ9IjQ5MzMwNzk4LTcwMDMtNGU4Ni04MzMyLWFmNDlmMjA1NjRhNiIgdmFsdWU9IiIgeG1sbnM9Imh0dHA6Ly93d3cuYm9sZG9uamFtZXMuY29tLzIwMDgvMDEvc2llL2ludGVybmFsL2xhYmVsIiAvPjwvc2lzbD48VXNlck5hbWU+UlJMT0NBTFx1NTQ2MDE3PC9Vc2VyTmFtZT48RGF0ZVRpbWU+MjIvMDMvMjAyMyAwOTozMjowNzwvRGF0ZVRpbWU+PExhYmVsU3RyaW5nPk5vbi1Db25maWRlbnRpYWwgLSBSb2xscy1Sb3ljZSBDb250ZW50IE9ubHkgLSBOb3QgU3ViamVjdCB0byBFeHBvcnQgQ29udHJvbCAgICAgPC9MYWJlbFN0cmluZz48L2l0ZW0+PC9sYWJlbEhpc3Rvcnk+</Value>
</WrappedLabelHistory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1ADFB7F94933F4E897FAC75EB96C14F" ma:contentTypeVersion="4" ma:contentTypeDescription="Create a new document." ma:contentTypeScope="" ma:versionID="566ed34494f3ab907e3a9e37664cfe15">
  <xsd:schema xmlns:xsd="http://www.w3.org/2001/XMLSchema" xmlns:xs="http://www.w3.org/2001/XMLSchema" xmlns:p="http://schemas.microsoft.com/office/2006/metadata/properties" xmlns:ns2="f7b14e13-cceb-4156-ae9c-1a2c395eb4f2" xmlns:ns3="79520456-06c3-4b74-8d30-f5d735e4b472" targetNamespace="http://schemas.microsoft.com/office/2006/metadata/properties" ma:root="true" ma:fieldsID="cdfe561f728d0428556eeb10c7abc72b" ns2:_="" ns3:_="">
    <xsd:import namespace="f7b14e13-cceb-4156-ae9c-1a2c395eb4f2"/>
    <xsd:import namespace="79520456-06c3-4b74-8d30-f5d735e4b47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b14e13-cceb-4156-ae9c-1a2c395eb4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9520456-06c3-4b74-8d30-f5d735e4b47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lNTZkYWE4YS03YjI3LTQ4YWMtODVkNC1kYjY1YWNiNTgwYjYiIG9yaWdpbj0idXNlclNlbGVjdGVkIj48ZWxlbWVudCB1aWQ9IjQ5MzMwNzk4LTcwMDMtNGU4Ni04MzMyLWFmNDlmMjA1NjRhNiIgdmFsdWU9IiIgeG1sbnM9Imh0dHA6Ly93d3cuYm9sZG9uamFtZXMuY29tLzIwMDgvMDEvc2llL2ludGVybmFsL2xhYmVsIiAvPjxlbGVtZW50IHVpZD0iZWM2YWJkM2ItYzBkNi00ZmE3LWE2MGEtMzQ5ZDBmODIyZTNiIiB2YWx1ZT0iIiB4bWxucz0iaHR0cDovL3d3dy5ib2xkb25qYW1lcy5jb20vMjAwOC8wMS9zaWUvaW50ZXJuYWwvbGFiZWwiIC8+PGVsZW1lbnQgdWlkPSI0NmZlMjMyOS1jMDJiLTQ0OTUtYjYyNC0xMmE0OTlkMDY5ZTIiIHZhbHVlPSIiIHhtbG5zPSJodHRwOi8vd3d3LmJvbGRvbmphbWVzLmNvbS8yMDA4LzAxL3NpZS9pbnRlcm5hbC9sYWJlbCIgLz48ZWxlbWVudCB1aWQ9IjllMTRhNjEzLTIxN2UtNDhmMi05ODEyLWNkYTU5YWY4MjcxZSIgdmFsdWU9IiIgeG1sbnM9Imh0dHA6Ly93d3cuYm9sZG9uamFtZXMuY29tLzIwMDgvMDEvc2llL2ludGVybmFsL2xhYmVsIiAvPjwvc2lzbD48VXNlck5hbWU+UlJMT0NBTFx1NjU0MTE5PC9Vc2VyTmFtZT48RGF0ZVRpbWU+MDcvMDMvMjAyMyAxMTozMjo0OTwvRGF0ZVRpbWU+PExhYmVsU3RyaW5nPlN0cmljdGx5IFByaXZhdGUgLSBSb2xscy1Sb3ljZSBDb250ZW50IE9ubHkgLSBOb3QgU3ViamVjdCB0byBFeHBvcnQgQ29udHJvbCAgICAgPC9MYWJlbFN0cmluZz48L2l0ZW0+PC9sYWJlbEhpc3Rvcnk+</Value>
</WrappedLabelHistory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lNTZkYWE4YS03YjI3LTQ4YWMtODVkNC1kYjY1YWNiNTgwYjYiIG9yaWdpbj0idXNlclNlbGVjdGVkIj48ZWxlbWVudCB1aWQ9IjQ5MzMwNzk4LTcwMDMtNGU4Ni04MzMyLWFmNDlmMjA1NjRhNiIgdmFsdWU9IiIgeG1sbnM9Imh0dHA6Ly93d3cuYm9sZG9uamFtZXMuY29tLzIwMDgvMDEvc2llL2ludGVybmFsL2xhYmVsIiAvPjxlbGVtZW50IHVpZD0iZWM2YWJkM2ItYzBkNi00ZmE3LWE2MGEtMzQ5ZDBmODIyZTNiIiB2YWx1ZT0iIiB4bWxucz0iaHR0cDovL3d3dy5ib2xkb25qYW1lcy5jb20vMjAwOC8wMS9zaWUvaW50ZXJuYWwvbGFiZWwiIC8+PGVsZW1lbnQgdWlkPSI0NmZlMjMyOS1jMDJiLTQ0OTUtYjYyNC0xMmE0OTlkMDY5ZTIiIHZhbHVlPSIiIHhtbG5zPSJodHRwOi8vd3d3LmJvbGRvbmphbWVzLmNvbS8yMDA4LzAxL3NpZS9pbnRlcm5hbC9sYWJlbCIgLz48ZWxlbWVudCB1aWQ9IjllMTRhNjEzLTIxN2UtNDhmMi05ODEyLWNkYTU5YWY4MjcxZSIgdmFsdWU9IiIgeG1sbnM9Imh0dHA6Ly93d3cuYm9sZG9uamFtZXMuY29tLzIwMDgvMDEvc2llL2ludGVybmFsL2xhYmVsIiAvPjwvc2lzbD48VXNlck5hbWU+UlJMT0NBTFx1NjU0MTE5PC9Vc2VyTmFtZT48RGF0ZVRpbWU+MDcvMDMvMjAyMyAxNTowNDoyMjwvRGF0ZVRpbWU+PExhYmVsU3RyaW5nPlN0cmljdGx5IFByaXZhdGUgLSBSb2xscy1Sb3ljZSBDb250ZW50IE9ubHkgLSBOb3QgU3ViamVjdCB0byBFeHBvcnQgQ29udHJvbCAgICAgPC9MYWJlbFN0cmluZz48L2l0ZW0+PC9sYWJlbEhpc3Rvcnk+</Value>
</WrappedLabelHistory>
</file>

<file path=customXml/item7.xml><?xml version="1.0" encoding="utf-8"?>
<sisl xmlns:xsi="http://www.w3.org/2001/XMLSchema-instance" xmlns:xsd="http://www.w3.org/2001/XMLSchema" xmlns="http://www.boldonjames.com/2008/01/sie/internal/label" sislVersion="0" policy="e56daa8a-7b27-48ac-85d4-db65acb580b6" origin="userSelected">
  <element uid="76cb6641-65c9-4928-b1aa-841d1b5bdb86" value=""/>
  <element uid="ec6abd3b-c0d6-4fa7-a60a-349d0f822e3b" value=""/>
  <element uid="46fe2329-c02b-4495-b624-12a499d069e2" value=""/>
  <element uid="49330798-7003-4e86-8332-af49f20564a6" value=""/>
</sisl>
</file>

<file path=customXml/item8.xml><?xml version="1.0" encoding="utf-8"?>
<WrappedLabelHistory xmlns:xsi="http://www.w3.org/2001/XMLSchema-instance" xmlns:xsd="http://www.w3.org/2001/XMLSchema" xmlns="http://www.boldonjames.com/2016/02/Classifier/internal/wrappedLabelHistory">
  <Value>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lNTZkYWE4YS03YjI3LTQ4YWMtODVkNC1kYjY1YWNiNTgwYjYiIG9yaWdpbj0idXNlclNlbGVjdGVkIj48ZWxlbWVudCB1aWQ9IjQ5MzMwNzk4LTcwMDMtNGU4Ni04MzMyLWFmNDlmMjA1NjRhNiIgdmFsdWU9IiIgeG1sbnM9Imh0dHA6Ly93d3cuYm9sZG9uamFtZXMuY29tLzIwMDgvMDEvc2llL2ludGVybmFsL2xhYmVsIiAvPjxlbGVtZW50IHVpZD0iZWM2YWJkM2ItYzBkNi00ZmE3LWE2MGEtMzQ5ZDBmODIyZTNiIiB2YWx1ZT0iIiB4bWxucz0iaHR0cDovL3d3dy5ib2xkb25qYW1lcy5jb20vMjAwOC8wMS9zaWUvaW50ZXJuYWwvbGFiZWwiIC8+PGVsZW1lbnQgdWlkPSI0NmZlMjMyOS1jMDJiLTQ0OTUtYjYyNC0xMmE0OTlkMDY5ZTIiIHZhbHVlPSIiIHhtbG5zPSJodHRwOi8vd3d3LmJvbGRvbmphbWVzLmNvbS8yMDA4LzAxL3NpZS9pbnRlcm5hbC9sYWJlbCIgLz48ZWxlbWVudCB1aWQ9IjllMTRhNjEzLTIxN2UtNDhmMi05ODEyLWNkYTU5YWY4MjcxZSIgdmFsdWU9IiIgeG1sbnM9Imh0dHA6Ly93d3cuYm9sZG9uamFtZXMuY29tLzIwMDgvMDEvc2llL2ludGVybmFsL2xhYmVsIiAvPjwvc2lzbD48VXNlck5hbWU+UlJMT0NBTFx1NjU0MTE5PC9Vc2VyTmFtZT48RGF0ZVRpbWU+MTYvMDMvMjAyMyAxNTowNDoyMTwvRGF0ZVRpbWU+PExhYmVsU3RyaW5nPlN0cmljdGx5IFByaXZhdGUgLSBSb2xscy1Sb3ljZSBDb250ZW50IE9ubHkgLSBOb3QgU3ViamVjdCB0byBFeHBvcnQgQ29udHJvbCAgICAgPC9MYWJlbFN0cmluZz48L2l0ZW0+PC9sYWJlbEhpc3Rvcnk+</Value>
</WrappedLabelHistory>
</file>

<file path=customXml/itemProps1.xml><?xml version="1.0" encoding="utf-8"?>
<ds:datastoreItem xmlns:ds="http://schemas.openxmlformats.org/officeDocument/2006/customXml" ds:itemID="{285EFDCC-69F1-4CB7-A5E9-A53343262D07}">
  <ds:schemaRefs>
    <ds:schemaRef ds:uri="http://www.w3.org/2001/XMLSchema"/>
    <ds:schemaRef ds:uri="http://www.boldonjames.com/2016/02/Classifier/internal/wrappedLabelHistory"/>
  </ds:schemaRefs>
</ds:datastoreItem>
</file>

<file path=customXml/itemProps2.xml><?xml version="1.0" encoding="utf-8"?>
<ds:datastoreItem xmlns:ds="http://schemas.openxmlformats.org/officeDocument/2006/customXml" ds:itemID="{6062A4DA-24EC-457A-A80E-B998A13416BC}">
  <ds:schemaRefs>
    <ds:schemaRef ds:uri="http://schemas.microsoft.com/office/2006/documentManagement/types"/>
    <ds:schemaRef ds:uri="f7b14e13-cceb-4156-ae9c-1a2c395eb4f2"/>
    <ds:schemaRef ds:uri="http://purl.org/dc/elements/1.1/"/>
    <ds:schemaRef ds:uri="79520456-06c3-4b74-8d30-f5d735e4b472"/>
    <ds:schemaRef ds:uri="http://schemas.microsoft.com/office/infopath/2007/PartnerControls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214876B-1813-4B6E-99D0-FCF87B9F0A37}">
  <ds:schemaRefs>
    <ds:schemaRef ds:uri="79520456-06c3-4b74-8d30-f5d735e4b472"/>
    <ds:schemaRef ds:uri="f7b14e13-cceb-4156-ae9c-1a2c395eb4f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D603805B-D68B-4A9E-B769-E79735626B9F}">
  <ds:schemaRefs>
    <ds:schemaRef ds:uri="http://www.boldonjames.com/2016/02/Classifier/internal/wrappedLabelHistory"/>
    <ds:schemaRef ds:uri="http://www.w3.org/2001/XMLSchema"/>
  </ds:schemaRefs>
</ds:datastoreItem>
</file>

<file path=customXml/itemProps5.xml><?xml version="1.0" encoding="utf-8"?>
<ds:datastoreItem xmlns:ds="http://schemas.openxmlformats.org/officeDocument/2006/customXml" ds:itemID="{BD45ED0E-1728-4A52-89D8-9F3F03EB3163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B6897BA5-0773-48E9-B755-41EC0610635D}">
  <ds:schemaRefs>
    <ds:schemaRef ds:uri="http://www.boldonjames.com/2016/02/Classifier/internal/wrappedLabelHistory"/>
    <ds:schemaRef ds:uri="http://www.w3.org/2001/XMLSchema"/>
  </ds:schemaRefs>
</ds:datastoreItem>
</file>

<file path=customXml/itemProps7.xml><?xml version="1.0" encoding="utf-8"?>
<ds:datastoreItem xmlns:ds="http://schemas.openxmlformats.org/officeDocument/2006/customXml" ds:itemID="{8C47DBE9-4555-4EF5-9041-C28879033E72}">
  <ds:schemaRefs>
    <ds:schemaRef ds:uri="http://www.w3.org/2001/XMLSchema"/>
    <ds:schemaRef ds:uri="http://www.boldonjames.com/2008/01/sie/internal/label"/>
  </ds:schemaRefs>
</ds:datastoreItem>
</file>

<file path=customXml/itemProps8.xml><?xml version="1.0" encoding="utf-8"?>
<ds:datastoreItem xmlns:ds="http://schemas.openxmlformats.org/officeDocument/2006/customXml" ds:itemID="{AD06E526-383C-43E2-A7E5-DD3E2163BB8F}">
  <ds:schemaRefs>
    <ds:schemaRef ds:uri="http://www.w3.org/2001/XMLSchema"/>
    <ds:schemaRef ds:uri="http://www.boldonjames.com/2016/02/Classifier/internal/wrappedLabelHistory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89</Words>
  <Application>Microsoft Office PowerPoint</Application>
  <PresentationFormat>Widescreen</PresentationFormat>
  <Paragraphs>57</Paragraphs>
  <Slides>6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9" baseType="lpstr">
      <vt:lpstr>Arial</vt:lpstr>
      <vt:lpstr>Calibri</vt:lpstr>
      <vt:lpstr>RR Pioneer</vt:lpstr>
      <vt:lpstr>RR Pioneer Bold</vt:lpstr>
      <vt:lpstr>RR Pioneer Bold</vt:lpstr>
      <vt:lpstr>RR Pioneer Light Condensed</vt:lpstr>
      <vt:lpstr>RR Pioneer Medium</vt:lpstr>
      <vt:lpstr>RR Pioneer UltraLight Condensed</vt:lpstr>
      <vt:lpstr>Wingdings</vt:lpstr>
      <vt:lpstr>RR Template</vt:lpstr>
      <vt:lpstr>20_RR Template</vt:lpstr>
      <vt:lpstr>12_RR Template</vt:lpstr>
      <vt:lpstr>think-cell Slide</vt:lpstr>
      <vt:lpstr>Aviation Just Transition Roundtable</vt:lpstr>
      <vt:lpstr>Net Zero pathway for aviation: Three major pillars to decarbonisation</vt:lpstr>
      <vt:lpstr>PowerPoint Presentation</vt:lpstr>
      <vt:lpstr>Changing the Perception</vt:lpstr>
      <vt:lpstr>PowerPoint Presentation</vt:lpstr>
      <vt:lpstr>What is a “Gig”?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K Represented Pay</dc:title>
  <dc:creator>Grimley, Michaela</dc:creator>
  <cp:keywords>|1:Non-Conf|5:NonExpCont|6:NonGov|2:Rolls-Royce|</cp:keywords>
  <cp:lastModifiedBy>Celia McClements</cp:lastModifiedBy>
  <cp:revision>7</cp:revision>
  <cp:lastPrinted>2023-03-22T17:52:23Z</cp:lastPrinted>
  <dcterms:modified xsi:type="dcterms:W3CDTF">2023-03-23T08:16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1ADFB7F94933F4E897FAC75EB96C14F</vt:lpwstr>
  </property>
  <property fmtid="{D5CDD505-2E9C-101B-9397-08002B2CF9AE}" pid="3" name="docIndexRef">
    <vt:lpwstr>6fb1612c-6b55-4b56-9156-03f8cec9e7ba</vt:lpwstr>
  </property>
  <property fmtid="{D5CDD505-2E9C-101B-9397-08002B2CF9AE}" pid="4" name="bjSaver">
    <vt:lpwstr>6RxifwHkJav9XN+vMfnxM6hx+J7W32+R</vt:lpwstr>
  </property>
  <property fmtid="{D5CDD505-2E9C-101B-9397-08002B2CF9AE}" pid="5" name="bjDocumentLabelXML">
    <vt:lpwstr>&lt;?xml version="1.0" encoding="us-ascii"?&gt;&lt;sisl xmlns:xsi="http://www.w3.org/2001/XMLSchema-instance" xmlns:xsd="http://www.w3.org/2001/XMLSchema" sislVersion="0" policy="e56daa8a-7b27-48ac-85d4-db65acb580b6" origin="userSelected" xmlns="http://www.boldonj</vt:lpwstr>
  </property>
  <property fmtid="{D5CDD505-2E9C-101B-9397-08002B2CF9AE}" pid="6" name="bjDocumentLabelXML-0">
    <vt:lpwstr>ames.com/2008/01/sie/internal/label"&gt;&lt;element uid="76cb6641-65c9-4928-b1aa-841d1b5bdb86" value="" /&gt;&lt;element uid="ec6abd3b-c0d6-4fa7-a60a-349d0f822e3b" value="" /&gt;&lt;element uid="46fe2329-c02b-4495-b624-12a499d069e2" value="" /&gt;&lt;element uid="49330798-7003-4</vt:lpwstr>
  </property>
  <property fmtid="{D5CDD505-2E9C-101B-9397-08002B2CF9AE}" pid="7" name="bjDocumentLabelXML-1">
    <vt:lpwstr>e86-8332-af49f20564a6" value="" /&gt;&lt;/sisl&gt;</vt:lpwstr>
  </property>
  <property fmtid="{D5CDD505-2E9C-101B-9397-08002B2CF9AE}" pid="8" name="bjDocumentSecurityLabel">
    <vt:lpwstr>Non-Confidential - Rolls-Royce Content Only - Not Subject to Export Control     </vt:lpwstr>
  </property>
  <property fmtid="{D5CDD505-2E9C-101B-9397-08002B2CF9AE}" pid="9" name="GovSecClass">
    <vt:lpwstr>No_Classification</vt:lpwstr>
  </property>
  <property fmtid="{D5CDD505-2E9C-101B-9397-08002B2CF9AE}" pid="10" name="Ownership">
    <vt:lpwstr>Rolls-Royce_content_only</vt:lpwstr>
  </property>
  <property fmtid="{D5CDD505-2E9C-101B-9397-08002B2CF9AE}" pid="11" name="TCGovSecClass">
    <vt:lpwstr>No_Classification</vt:lpwstr>
  </property>
  <property fmtid="{D5CDD505-2E9C-101B-9397-08002B2CF9AE}" pid="12" name="BusinessSensitivity">
    <vt:lpwstr>Non-Confidential</vt:lpwstr>
  </property>
  <property fmtid="{D5CDD505-2E9C-101B-9397-08002B2CF9AE}" pid="13" name="ExportControlled">
    <vt:lpwstr>Not_Subject_to_Export_Control</vt:lpwstr>
  </property>
  <property fmtid="{D5CDD505-2E9C-101B-9397-08002B2CF9AE}" pid="14" name="bjLabelHistoryID">
    <vt:lpwstr>{285EFDCC-69F1-4CB7-A5E9-A53343262D07}</vt:lpwstr>
  </property>
</Properties>
</file>